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Default Extension="jpg" ContentType="image/jpeg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notesSlides/notesSlide13.xml" ContentType="application/vnd.openxmlformats-officedocument.presentationml.notesSlid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charts/colors10.xml" ContentType="application/vnd.ms-office.chartcolorstyle+xml"/>
  <Override PartName="/ppt/theme/themeOverride10.xml" ContentType="application/vnd.openxmlformats-officedocument.themeOverride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charts/chart5.xml" ContentType="application/vnd.openxmlformats-officedocument.drawingml.chart+xml"/>
  <Override PartName="/ppt/theme/themeOverride4.xml" ContentType="application/vnd.openxmlformats-officedocument.themeOverride+xml"/>
  <Override PartName="/ppt/charts/chart4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6.xml" ContentType="application/vnd.openxmlformats-officedocument.themeOverride+xml"/>
  <Override PartName="/ppt/theme/themeOverride3.xml" ContentType="application/vnd.openxmlformats-officedocument.themeOverride+xml"/>
  <Override PartName="/ppt/charts/colors3.xml" ContentType="application/vnd.ms-office.chartcolorstyle+xml"/>
  <Override PartName="/ppt/charts/style3.xml" ContentType="application/vnd.ms-office.chartstyle+xml"/>
  <Override PartName="/ppt/charts/chart3.xml" ContentType="application/vnd.openxmlformats-officedocument.drawingml.chart+xml"/>
  <Override PartName="/ppt/theme/themeOverride2.xml" ContentType="application/vnd.openxmlformats-officedocument.themeOverride+xml"/>
  <Override PartName="/ppt/charts/colors2.xml" ContentType="application/vnd.ms-office.chartcolorstyle+xml"/>
  <Override PartName="/ppt/charts/style2.xml" ContentType="application/vnd.ms-office.chartstyle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charts/colors1.xml" ContentType="application/vnd.ms-office.chartcolorstyle+xml"/>
  <Override PartName="/ppt/charts/style4.xml" ContentType="application/vnd.ms-office.chartstyle+xml"/>
  <Override PartName="/ppt/charts/style1.xml" ContentType="application/vnd.ms-office.chartstyle+xml"/>
  <Override PartName="/ppt/charts/chart1.xml" ContentType="application/vnd.openxmlformats-officedocument.drawingml.chart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7.xml" ContentType="application/vnd.openxmlformats-officedocument.themeOverride+xml"/>
  <Override PartName="/ppt/charts/colors4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8.xml" ContentType="application/vnd.openxmlformats-officedocument.themeOverr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9.xml" ContentType="application/vnd.openxmlformats-officedocument.themeOverride+xml"/>
  <Override PartName="/ppt/charts/chart10.xml" ContentType="application/vnd.openxmlformats-officedocument.drawingml.chart+xml"/>
  <Override PartName="/ppt/charts/style10.xml" ContentType="application/vnd.ms-office.chartstyl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6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4" r:id="rId2"/>
    <p:sldMasterId id="2147483717" r:id="rId3"/>
    <p:sldMasterId id="2147483800" r:id="rId4"/>
    <p:sldMasterId id="2147483830" r:id="rId5"/>
    <p:sldMasterId id="2147483837" r:id="rId6"/>
    <p:sldMasterId id="2147483859" r:id="rId7"/>
    <p:sldMasterId id="2147483874" r:id="rId8"/>
  </p:sldMasterIdLst>
  <p:notesMasterIdLst>
    <p:notesMasterId r:id="rId24"/>
  </p:notesMasterIdLst>
  <p:sldIdLst>
    <p:sldId id="256" r:id="rId9"/>
    <p:sldId id="549" r:id="rId10"/>
    <p:sldId id="2134806107" r:id="rId11"/>
    <p:sldId id="2134806106" r:id="rId12"/>
    <p:sldId id="2134806096" r:id="rId13"/>
    <p:sldId id="2134806094" r:id="rId14"/>
    <p:sldId id="2134806102" r:id="rId15"/>
    <p:sldId id="2134806095" r:id="rId16"/>
    <p:sldId id="2134806098" r:id="rId17"/>
    <p:sldId id="2134806085" r:id="rId18"/>
    <p:sldId id="2134806099" r:id="rId19"/>
    <p:sldId id="2134806087" r:id="rId20"/>
    <p:sldId id="2134806103" r:id="rId21"/>
    <p:sldId id="2134806104" r:id="rId22"/>
    <p:sldId id="2134806105" r:id="rId23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nneson, Lauren M (Portland)" initials="DLM(" lastIdx="8" clrIdx="0">
    <p:extLst>
      <p:ext uri="{19B8F6BF-5375-455C-9EA6-DF929625EA0E}">
        <p15:presenceInfo xmlns:p15="http://schemas.microsoft.com/office/powerpoint/2012/main" userId="S::Lauren.Denneson@va.gov::c36d2285-7d6f-45e2-94f6-11f8233d6a4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72C4"/>
    <a:srgbClr val="ED7D31"/>
    <a:srgbClr val="255E91"/>
    <a:srgbClr val="9E480E"/>
    <a:srgbClr val="264478"/>
    <a:srgbClr val="5B9BD5"/>
    <a:srgbClr val="AFABAB"/>
    <a:srgbClr val="43682B"/>
    <a:srgbClr val="636363"/>
    <a:srgbClr val="997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86134" autoAdjust="0"/>
  </p:normalViewPr>
  <p:slideViewPr>
    <p:cSldViewPr snapToGrid="0">
      <p:cViewPr varScale="1">
        <p:scale>
          <a:sx n="98" d="100"/>
          <a:sy n="98" d="100"/>
        </p:scale>
        <p:origin x="107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notesMaster" Target="notesMasters/notesMaster1.xml"/><Relationship Id="rId32" Type="http://schemas.openxmlformats.org/officeDocument/2006/relationships/customXml" Target="../customXml/item3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theme" Target="theme/theme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customXml" Target="../customXml/item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viewProps" Target="viewProps.xml"/><Relationship Id="rId30" Type="http://schemas.openxmlformats.org/officeDocument/2006/relationships/customXml" Target="../customXml/item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0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package" Target="../embeddings/Microsoft_Excel_Worksheet9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2593873167560089"/>
          <c:y val="9.8505630133590941E-2"/>
          <c:w val="0.60426494340922321"/>
          <c:h val="0.81879608695975781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17B-4D50-B6B0-552A070C9D7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17B-4D50-B6B0-552A070C9D7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17B-4D50-B6B0-552A070C9D7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617B-4D50-B6B0-552A070C9D7C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617B-4D50-B6B0-552A070C9D7C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617B-4D50-B6B0-552A070C9D7C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617B-4D50-B6B0-552A070C9D7C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617B-4D50-B6B0-552A070C9D7C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617B-4D50-B6B0-552A070C9D7C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617B-4D50-B6B0-552A070C9D7C}"/>
              </c:ext>
            </c:extLst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617B-4D50-B6B0-552A070C9D7C}"/>
              </c:ext>
            </c:extLst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617B-4D50-B6B0-552A070C9D7C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6060321843571171E-2"/>
                      <c:h val="7.3428886339345259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617B-4D50-B6B0-552A070C9D7C}"/>
                </c:ext>
              </c:extLst>
            </c:dLbl>
            <c:dLbl>
              <c:idx val="9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3-617B-4D50-B6B0-552A070C9D7C}"/>
                </c:ext>
              </c:extLst>
            </c:dLbl>
            <c:dLbl>
              <c:idx val="1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5-617B-4D50-B6B0-552A070C9D7C}"/>
                </c:ext>
              </c:extLst>
            </c:dLbl>
            <c:dLbl>
              <c:idx val="1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7-617B-4D50-B6B0-552A070C9D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pivot tables'!$D$2:$D$13</c:f>
              <c:strCache>
                <c:ptCount val="12"/>
                <c:pt idx="0">
                  <c:v>HSRD/QUERI</c:v>
                </c:pt>
                <c:pt idx="1">
                  <c:v>CSRD</c:v>
                </c:pt>
                <c:pt idx="2">
                  <c:v>RRD (includes SPIRE)</c:v>
                </c:pt>
                <c:pt idx="3">
                  <c:v>Other OMHSP</c:v>
                </c:pt>
                <c:pt idx="4">
                  <c:v>Center of Excellence</c:v>
                </c:pt>
                <c:pt idx="5">
                  <c:v>SPRINT planning award</c:v>
                </c:pt>
                <c:pt idx="6">
                  <c:v>Other</c:v>
                </c:pt>
                <c:pt idx="7">
                  <c:v>MIRECC</c:v>
                </c:pt>
                <c:pt idx="8">
                  <c:v>BLRD</c:v>
                </c:pt>
                <c:pt idx="9">
                  <c:v>ORH</c:v>
                </c:pt>
                <c:pt idx="10">
                  <c:v>VISN-funded</c:v>
                </c:pt>
                <c:pt idx="11">
                  <c:v>Partnered ORD/Operations</c:v>
                </c:pt>
              </c:strCache>
            </c:strRef>
          </c:cat>
          <c:val>
            <c:numRef>
              <c:f>'pivot tables'!$E$2:$E$13</c:f>
              <c:numCache>
                <c:formatCode>General</c:formatCode>
                <c:ptCount val="12"/>
                <c:pt idx="0">
                  <c:v>41</c:v>
                </c:pt>
                <c:pt idx="1">
                  <c:v>30</c:v>
                </c:pt>
                <c:pt idx="2">
                  <c:v>20</c:v>
                </c:pt>
                <c:pt idx="3">
                  <c:v>17</c:v>
                </c:pt>
                <c:pt idx="4">
                  <c:v>12</c:v>
                </c:pt>
                <c:pt idx="5">
                  <c:v>9</c:v>
                </c:pt>
                <c:pt idx="6">
                  <c:v>7</c:v>
                </c:pt>
                <c:pt idx="7">
                  <c:v>6</c:v>
                </c:pt>
                <c:pt idx="8">
                  <c:v>4</c:v>
                </c:pt>
                <c:pt idx="9">
                  <c:v>3</c:v>
                </c:pt>
                <c:pt idx="10">
                  <c:v>2</c:v>
                </c:pt>
                <c:pt idx="1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617B-4D50-B6B0-552A070C9D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4.3760433566211829E-2"/>
          <c:y val="5.7782421786283851E-2"/>
          <c:w val="0.27742618852507689"/>
          <c:h val="0.9246439202969658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8560885421313766"/>
          <c:y val="0.10669770092146368"/>
          <c:w val="0.64842942640068046"/>
          <c:h val="0.7706552462756715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rgbClr val="ED7D3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43E-420C-BF24-346BDCCB70B0}"/>
              </c:ext>
            </c:extLst>
          </c:dPt>
          <c:dPt>
            <c:idx val="1"/>
            <c:bubble3D val="0"/>
            <c:spPr>
              <a:solidFill>
                <a:srgbClr val="4472C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43E-420C-BF24-346BDCCB70B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43E-420C-BF24-346BDCCB70B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43E-420C-BF24-346BDCCB70B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pivot tables'!$D$165:$D$168</c:f>
              <c:strCache>
                <c:ptCount val="4"/>
                <c:pt idx="0">
                  <c:v>  Individual</c:v>
                </c:pt>
                <c:pt idx="1">
                  <c:v>  Community/Society</c:v>
                </c:pt>
                <c:pt idx="2">
                  <c:v>  Relationship</c:v>
                </c:pt>
                <c:pt idx="3">
                  <c:v>NR</c:v>
                </c:pt>
              </c:strCache>
            </c:strRef>
          </c:cat>
          <c:val>
            <c:numRef>
              <c:f>'pivot tables'!$E$165:$E$168</c:f>
              <c:numCache>
                <c:formatCode>General</c:formatCode>
                <c:ptCount val="4"/>
                <c:pt idx="0">
                  <c:v>92</c:v>
                </c:pt>
                <c:pt idx="1">
                  <c:v>20</c:v>
                </c:pt>
                <c:pt idx="2">
                  <c:v>10</c:v>
                </c:pt>
                <c:pt idx="3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43E-420C-BF24-346BDCCB70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9235925625877565"/>
          <c:y val="0.10740812553423326"/>
          <c:w val="0.67266377889262108"/>
          <c:h val="0.78183811742344589"/>
        </c:manualLayout>
      </c:layout>
      <c:pieChart>
        <c:varyColors val="1"/>
        <c:ser>
          <c:idx val="0"/>
          <c:order val="0"/>
          <c:tx>
            <c:strRef>
              <c:f>'pivot tables'!$E$19</c:f>
              <c:strCache>
                <c:ptCount val="1"/>
                <c:pt idx="0">
                  <c:v>n</c:v>
                </c:pt>
              </c:strCache>
            </c:strRef>
          </c:tx>
          <c:explosion val="1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C67-4BA2-BCAE-C559D78AF13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C67-4BA2-BCAE-C559D78AF13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C67-4BA2-BCAE-C559D78AF13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C67-4BA2-BCAE-C559D78AF13D}"/>
              </c:ext>
            </c:extLst>
          </c:dPt>
          <c:dPt>
            <c:idx val="4"/>
            <c:bubble3D val="0"/>
            <c:spPr>
              <a:solidFill>
                <a:srgbClr val="70AD47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BC67-4BA2-BCAE-C559D78AF13D}"/>
              </c:ext>
            </c:extLst>
          </c:dPt>
          <c:dPt>
            <c:idx val="5"/>
            <c:bubble3D val="0"/>
            <c:spPr>
              <a:solidFill>
                <a:srgbClr val="C6262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BC67-4BA2-BCAE-C559D78AF13D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BC67-4BA2-BCAE-C559D78AF13D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BC67-4BA2-BCAE-C559D78AF13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pivot tables'!$D$20:$D$27</c:f>
              <c:strCache>
                <c:ptCount val="8"/>
                <c:pt idx="0">
                  <c:v>Observational-Cohort</c:v>
                </c:pt>
                <c:pt idx="1">
                  <c:v>Intervention-Trial</c:v>
                </c:pt>
                <c:pt idx="2">
                  <c:v>Other Observational</c:v>
                </c:pt>
                <c:pt idx="3">
                  <c:v>Intervention-Pilot</c:v>
                </c:pt>
                <c:pt idx="4">
                  <c:v>Other</c:v>
                </c:pt>
                <c:pt idx="5">
                  <c:v>NR</c:v>
                </c:pt>
                <c:pt idx="6">
                  <c:v>Implementation</c:v>
                </c:pt>
                <c:pt idx="7">
                  <c:v>Bench/Animal Experimental</c:v>
                </c:pt>
              </c:strCache>
            </c:strRef>
          </c:cat>
          <c:val>
            <c:numRef>
              <c:f>'pivot tables'!$E$20:$E$27</c:f>
              <c:numCache>
                <c:formatCode>General</c:formatCode>
                <c:ptCount val="8"/>
                <c:pt idx="0">
                  <c:v>36</c:v>
                </c:pt>
                <c:pt idx="1">
                  <c:v>29</c:v>
                </c:pt>
                <c:pt idx="2">
                  <c:v>24</c:v>
                </c:pt>
                <c:pt idx="3">
                  <c:v>23</c:v>
                </c:pt>
                <c:pt idx="4">
                  <c:v>15</c:v>
                </c:pt>
                <c:pt idx="5">
                  <c:v>11</c:v>
                </c:pt>
                <c:pt idx="6">
                  <c:v>9</c:v>
                </c:pt>
                <c:pt idx="7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BC67-4BA2-BCAE-C559D78AF1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4688081688082397"/>
          <c:y val="9.771571968601446E-2"/>
          <c:w val="0.69193129703365608"/>
          <c:h val="0.86767849332667391"/>
        </c:manualLayout>
      </c:layout>
      <c:pieChart>
        <c:varyColors val="1"/>
        <c:ser>
          <c:idx val="0"/>
          <c:order val="0"/>
          <c:tx>
            <c:strRef>
              <c:f>'pivot tables'!$E$149</c:f>
              <c:strCache>
                <c:ptCount val="1"/>
                <c:pt idx="0">
                  <c:v>Count of Studi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B3A-4AD7-9356-3F00C2DC44F9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B3A-4AD7-9356-3F00C2DC44F9}"/>
              </c:ext>
            </c:extLst>
          </c:dPt>
          <c:dPt>
            <c:idx val="2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B3A-4AD7-9356-3F00C2DC44F9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B3A-4AD7-9356-3F00C2DC44F9}"/>
              </c:ext>
            </c:extLst>
          </c:dPt>
          <c:dPt>
            <c:idx val="4"/>
            <c:bubble3D val="0"/>
            <c:spPr>
              <a:solidFill>
                <a:srgbClr val="264478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5B3A-4AD7-9356-3F00C2DC44F9}"/>
              </c:ext>
            </c:extLst>
          </c:dPt>
          <c:dPt>
            <c:idx val="5"/>
            <c:bubble3D val="0"/>
            <c:spPr>
              <a:solidFill>
                <a:srgbClr val="70AD47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5B3A-4AD7-9356-3F00C2DC44F9}"/>
              </c:ext>
            </c:extLst>
          </c:dPt>
          <c:dPt>
            <c:idx val="6"/>
            <c:bubble3D val="0"/>
            <c:spPr>
              <a:solidFill>
                <a:srgbClr val="9973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5B3A-4AD7-9356-3F00C2DC44F9}"/>
              </c:ext>
            </c:extLst>
          </c:dPt>
          <c:dPt>
            <c:idx val="7"/>
            <c:bubble3D val="0"/>
            <c:spPr>
              <a:solidFill>
                <a:srgbClr val="C6262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5B3A-4AD7-9356-3F00C2DC44F9}"/>
              </c:ext>
            </c:extLst>
          </c:dPt>
          <c:dLbls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2">
                          <a:lumMod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F-5B3A-4AD7-9356-3F00C2DC44F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pivot tables'!$D$150:$D$157</c:f>
              <c:strCache>
                <c:ptCount val="8"/>
                <c:pt idx="0">
                  <c:v> Observational-Cohort</c:v>
                </c:pt>
                <c:pt idx="1">
                  <c:v> Other Observational </c:v>
                </c:pt>
                <c:pt idx="2">
                  <c:v> Intervention-Trial</c:v>
                </c:pt>
                <c:pt idx="3">
                  <c:v> Intervention-Pilot</c:v>
                </c:pt>
                <c:pt idx="4">
                  <c:v> Implementation</c:v>
                </c:pt>
                <c:pt idx="5">
                  <c:v> Other </c:v>
                </c:pt>
                <c:pt idx="6">
                  <c:v> Bench/Animal Experimental</c:v>
                </c:pt>
                <c:pt idx="7">
                  <c:v> NR</c:v>
                </c:pt>
              </c:strCache>
            </c:strRef>
          </c:cat>
          <c:val>
            <c:numRef>
              <c:f>'pivot tables'!$E$150:$E$157</c:f>
              <c:numCache>
                <c:formatCode>General</c:formatCode>
                <c:ptCount val="8"/>
                <c:pt idx="0">
                  <c:v>39</c:v>
                </c:pt>
                <c:pt idx="1">
                  <c:v>29</c:v>
                </c:pt>
                <c:pt idx="2">
                  <c:v>22</c:v>
                </c:pt>
                <c:pt idx="3">
                  <c:v>14</c:v>
                </c:pt>
                <c:pt idx="4">
                  <c:v>9</c:v>
                </c:pt>
                <c:pt idx="5">
                  <c:v>7</c:v>
                </c:pt>
                <c:pt idx="6">
                  <c:v>5</c:v>
                </c:pt>
                <c:pt idx="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5B3A-4AD7-9356-3F00C2DC44F9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4268976276631756"/>
          <c:y val="5.5685163761363038E-2"/>
          <c:w val="0.72277347684117343"/>
          <c:h val="0.83701506874206177"/>
        </c:manualLayout>
      </c:layout>
      <c:pieChart>
        <c:varyColors val="1"/>
        <c:ser>
          <c:idx val="0"/>
          <c:order val="0"/>
          <c:tx>
            <c:strRef>
              <c:f>'pivot tables'!$B$149</c:f>
              <c:strCache>
                <c:ptCount val="1"/>
                <c:pt idx="0">
                  <c:v>Count of Studies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F63-4FC2-95CC-56FFCC0980F8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F63-4FC2-95CC-56FFCC0980F8}"/>
              </c:ext>
            </c:extLst>
          </c:dPt>
          <c:dPt>
            <c:idx val="2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F63-4FC2-95CC-56FFCC0980F8}"/>
              </c:ext>
            </c:extLst>
          </c:dPt>
          <c:dPt>
            <c:idx val="3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F63-4FC2-95CC-56FFCC0980F8}"/>
              </c:ext>
            </c:extLst>
          </c:dPt>
          <c:dPt>
            <c:idx val="4"/>
            <c:bubble3D val="0"/>
            <c:spPr>
              <a:solidFill>
                <a:srgbClr val="264478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5F63-4FC2-95CC-56FFCC0980F8}"/>
              </c:ext>
            </c:extLst>
          </c:dPt>
          <c:dPt>
            <c:idx val="5"/>
            <c:bubble3D val="0"/>
            <c:spPr>
              <a:solidFill>
                <a:srgbClr val="70AD47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5F63-4FC2-95CC-56FFCC0980F8}"/>
              </c:ext>
            </c:extLst>
          </c:dPt>
          <c:dPt>
            <c:idx val="6"/>
            <c:bubble3D val="0"/>
            <c:spPr>
              <a:solidFill>
                <a:srgbClr val="9973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5F63-4FC2-95CC-56FFCC0980F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pivot tables'!$A$150:$A$156</c:f>
              <c:strCache>
                <c:ptCount val="7"/>
                <c:pt idx="0">
                  <c:v> Other Observational </c:v>
                </c:pt>
                <c:pt idx="1">
                  <c:v> Observational-Cohort</c:v>
                </c:pt>
                <c:pt idx="2">
                  <c:v> Intervention-Pilot</c:v>
                </c:pt>
                <c:pt idx="3">
                  <c:v> Intervention-Trial</c:v>
                </c:pt>
                <c:pt idx="4">
                  <c:v> Implementation</c:v>
                </c:pt>
                <c:pt idx="5">
                  <c:v> Other </c:v>
                </c:pt>
                <c:pt idx="6">
                  <c:v> Bench/Animal Experimental</c:v>
                </c:pt>
              </c:strCache>
            </c:strRef>
          </c:cat>
          <c:val>
            <c:numRef>
              <c:f>'pivot tables'!$B$150:$B$156</c:f>
              <c:numCache>
                <c:formatCode>General</c:formatCode>
                <c:ptCount val="7"/>
                <c:pt idx="0">
                  <c:v>36</c:v>
                </c:pt>
                <c:pt idx="1">
                  <c:v>29</c:v>
                </c:pt>
                <c:pt idx="2">
                  <c:v>21</c:v>
                </c:pt>
                <c:pt idx="3">
                  <c:v>18</c:v>
                </c:pt>
                <c:pt idx="4">
                  <c:v>11</c:v>
                </c:pt>
                <c:pt idx="5">
                  <c:v>9</c:v>
                </c:pt>
                <c:pt idx="6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5F63-4FC2-95CC-56FFCC0980F8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0209525252389274"/>
          <c:y val="8.9861325081541821E-2"/>
          <c:w val="0.66959607013566913"/>
          <c:h val="0.78731096149062885"/>
        </c:manualLayout>
      </c:layout>
      <c:pieChart>
        <c:varyColors val="1"/>
        <c:ser>
          <c:idx val="0"/>
          <c:order val="0"/>
          <c:tx>
            <c:strRef>
              <c:f>'pivot tables'!$H$149</c:f>
              <c:strCache>
                <c:ptCount val="1"/>
                <c:pt idx="0">
                  <c:v>Count of Studies 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FB7-45E8-88EC-91BDEA1B5A5E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FB7-45E8-88EC-91BDEA1B5A5E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FB7-45E8-88EC-91BDEA1B5A5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pivot tables'!$G$150:$G$152</c:f>
              <c:strCache>
                <c:ptCount val="3"/>
                <c:pt idx="0">
                  <c:v>  Selective</c:v>
                </c:pt>
                <c:pt idx="1">
                  <c:v>  Universal</c:v>
                </c:pt>
                <c:pt idx="2">
                  <c:v>  Indicated</c:v>
                </c:pt>
              </c:strCache>
            </c:strRef>
          </c:cat>
          <c:val>
            <c:numRef>
              <c:f>'pivot tables'!$H$150:$H$152</c:f>
              <c:numCache>
                <c:formatCode>General</c:formatCode>
                <c:ptCount val="3"/>
                <c:pt idx="0">
                  <c:v>69</c:v>
                </c:pt>
                <c:pt idx="1">
                  <c:v>29</c:v>
                </c:pt>
                <c:pt idx="2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FB7-45E8-88EC-91BDEA1B5A5E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6791729419337051"/>
          <c:y val="9.2469374039561236E-2"/>
          <c:w val="0.64132744396096963"/>
          <c:h val="0.85424855720130455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F37-4882-8DD5-64997CEA07CF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F37-4882-8DD5-64997CEA07C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F37-4882-8DD5-64997CEA07CF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8F37-4882-8DD5-64997CEA07CF}"/>
              </c:ext>
            </c:extLst>
          </c:dPt>
          <c:dLbls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2">
                          <a:lumMod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7-8F37-4882-8DD5-64997CEA07C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pivot tables'!$G$157:$G$160</c:f>
              <c:strCache>
                <c:ptCount val="4"/>
                <c:pt idx="0">
                  <c:v>  Selective</c:v>
                </c:pt>
                <c:pt idx="1">
                  <c:v>  Indicated</c:v>
                </c:pt>
                <c:pt idx="2">
                  <c:v>  Universal</c:v>
                </c:pt>
                <c:pt idx="3">
                  <c:v>  NR</c:v>
                </c:pt>
              </c:strCache>
            </c:strRef>
          </c:cat>
          <c:val>
            <c:numRef>
              <c:f>'pivot tables'!$H$157:$H$160</c:f>
              <c:numCache>
                <c:formatCode>General</c:formatCode>
                <c:ptCount val="4"/>
                <c:pt idx="0">
                  <c:v>59</c:v>
                </c:pt>
                <c:pt idx="1">
                  <c:v>34</c:v>
                </c:pt>
                <c:pt idx="2">
                  <c:v>30</c:v>
                </c:pt>
                <c:pt idx="3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F37-4882-8DD5-64997CEA07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0180268684266911"/>
          <c:y val="9.1129361812134227E-2"/>
          <c:w val="0.66695154114353505"/>
          <c:h val="0.8255732766776005"/>
        </c:manualLayout>
      </c:layout>
      <c:pieChart>
        <c:varyColors val="1"/>
        <c:ser>
          <c:idx val="0"/>
          <c:order val="0"/>
          <c:tx>
            <c:strRef>
              <c:f>'pivot tables'!$E$35</c:f>
              <c:strCache>
                <c:ptCount val="1"/>
                <c:pt idx="0">
                  <c:v>n</c:v>
                </c:pt>
              </c:strCache>
            </c:strRef>
          </c:tx>
          <c:dPt>
            <c:idx val="0"/>
            <c:bubble3D val="0"/>
            <c:spPr>
              <a:solidFill>
                <a:srgbClr val="ED7D3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3BD-4A31-A29D-7DE79C2BA332}"/>
              </c:ext>
            </c:extLst>
          </c:dPt>
          <c:dPt>
            <c:idx val="1"/>
            <c:bubble3D val="0"/>
            <c:spPr>
              <a:solidFill>
                <a:srgbClr val="4472C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3BD-4A31-A29D-7DE79C2BA33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3BD-4A31-A29D-7DE79C2BA33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3BD-4A31-A29D-7DE79C2BA33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pivot tables'!$D$36:$D$39</c:f>
              <c:strCache>
                <c:ptCount val="4"/>
                <c:pt idx="0">
                  <c:v>Selective</c:v>
                </c:pt>
                <c:pt idx="1">
                  <c:v>Indicated</c:v>
                </c:pt>
                <c:pt idx="2">
                  <c:v>Universal</c:v>
                </c:pt>
                <c:pt idx="3">
                  <c:v>NR</c:v>
                </c:pt>
              </c:strCache>
            </c:strRef>
          </c:cat>
          <c:val>
            <c:numRef>
              <c:f>'pivot tables'!$E$36:$E$39</c:f>
              <c:numCache>
                <c:formatCode>General</c:formatCode>
                <c:ptCount val="4"/>
                <c:pt idx="0">
                  <c:v>69</c:v>
                </c:pt>
                <c:pt idx="1">
                  <c:v>44</c:v>
                </c:pt>
                <c:pt idx="2">
                  <c:v>25</c:v>
                </c:pt>
                <c:pt idx="3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3BD-4A31-A29D-7DE79C2BA3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8569949008580716"/>
          <c:y val="0.15423659321371708"/>
          <c:w val="0.67504917115019092"/>
          <c:h val="0.64346050833419477"/>
        </c:manualLayout>
      </c:layout>
      <c:pieChart>
        <c:varyColors val="1"/>
        <c:ser>
          <c:idx val="0"/>
          <c:order val="0"/>
          <c:tx>
            <c:strRef>
              <c:f>'pivot tables'!$E$44</c:f>
              <c:strCache>
                <c:ptCount val="1"/>
                <c:pt idx="0">
                  <c:v>n</c:v>
                </c:pt>
              </c:strCache>
            </c:strRef>
          </c:tx>
          <c:dPt>
            <c:idx val="0"/>
            <c:bubble3D val="0"/>
            <c:spPr>
              <a:solidFill>
                <a:srgbClr val="ED7D3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C53-409F-9E1F-E5D6A44571CC}"/>
              </c:ext>
            </c:extLst>
          </c:dPt>
          <c:dPt>
            <c:idx val="1"/>
            <c:bubble3D val="0"/>
            <c:spPr>
              <a:solidFill>
                <a:srgbClr val="4472C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C53-409F-9E1F-E5D6A44571C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C53-409F-9E1F-E5D6A44571C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C53-409F-9E1F-E5D6A44571C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pivot tables'!$D$45:$D$48</c:f>
              <c:strCache>
                <c:ptCount val="4"/>
                <c:pt idx="0">
                  <c:v>Individual</c:v>
                </c:pt>
                <c:pt idx="1">
                  <c:v>Community/Society</c:v>
                </c:pt>
                <c:pt idx="2">
                  <c:v>Relationship</c:v>
                </c:pt>
                <c:pt idx="3">
                  <c:v>NR </c:v>
                </c:pt>
              </c:strCache>
            </c:strRef>
          </c:cat>
          <c:val>
            <c:numRef>
              <c:f>'pivot tables'!$E$45:$E$48</c:f>
              <c:numCache>
                <c:formatCode>General</c:formatCode>
                <c:ptCount val="4"/>
                <c:pt idx="0">
                  <c:v>110</c:v>
                </c:pt>
                <c:pt idx="1">
                  <c:v>17</c:v>
                </c:pt>
                <c:pt idx="2">
                  <c:v>9</c:v>
                </c:pt>
                <c:pt idx="3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C53-409F-9E1F-E5D6A44571CC}"/>
            </c:ext>
          </c:extLst>
        </c:ser>
        <c:ser>
          <c:idx val="1"/>
          <c:order val="1"/>
          <c:tx>
            <c:strRef>
              <c:f>'pivot tables'!$F$44</c:f>
              <c:strCache>
                <c:ptCount val="1"/>
                <c:pt idx="0">
                  <c:v>%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7C53-409F-9E1F-E5D6A44571C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C-7C53-409F-9E1F-E5D6A44571C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E-7C53-409F-9E1F-E5D6A44571C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0-7C53-409F-9E1F-E5D6A44571CC}"/>
              </c:ext>
            </c:extLst>
          </c:dPt>
          <c:cat>
            <c:strRef>
              <c:f>'pivot tables'!$D$45:$D$48</c:f>
              <c:strCache>
                <c:ptCount val="4"/>
                <c:pt idx="0">
                  <c:v>Individual</c:v>
                </c:pt>
                <c:pt idx="1">
                  <c:v>Community/Society</c:v>
                </c:pt>
                <c:pt idx="2">
                  <c:v>Relationship</c:v>
                </c:pt>
                <c:pt idx="3">
                  <c:v>NR </c:v>
                </c:pt>
              </c:strCache>
            </c:strRef>
          </c:cat>
          <c:val>
            <c:numRef>
              <c:f>'pivot tables'!$F$45:$F$48</c:f>
              <c:numCache>
                <c:formatCode>0%</c:formatCode>
                <c:ptCount val="4"/>
                <c:pt idx="0">
                  <c:v>0.72368421052631582</c:v>
                </c:pt>
                <c:pt idx="1">
                  <c:v>0.1118421052631579</c:v>
                </c:pt>
                <c:pt idx="2">
                  <c:v>5.921052631578947E-2</c:v>
                </c:pt>
                <c:pt idx="3">
                  <c:v>0.105263157894736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7C53-409F-9E1F-E5D6A44571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4432093807957269E-2"/>
          <c:y val="8.0995932725736131E-2"/>
          <c:w val="0.95556790619204268"/>
          <c:h val="0.80794119568650347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819-4C7E-B174-29921059BABB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819-4C7E-B174-29921059BABB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819-4C7E-B174-29921059BAB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pivot tables'!$A$166:$A$168</c:f>
              <c:strCache>
                <c:ptCount val="3"/>
                <c:pt idx="0">
                  <c:v>  Individual</c:v>
                </c:pt>
                <c:pt idx="1">
                  <c:v>  Community/Society </c:v>
                </c:pt>
                <c:pt idx="2">
                  <c:v>  Relationship</c:v>
                </c:pt>
              </c:strCache>
            </c:strRef>
          </c:cat>
          <c:val>
            <c:numRef>
              <c:f>'pivot tables'!$B$166:$B$168</c:f>
              <c:numCache>
                <c:formatCode>General</c:formatCode>
                <c:ptCount val="3"/>
                <c:pt idx="0">
                  <c:v>96</c:v>
                </c:pt>
                <c:pt idx="1">
                  <c:v>22</c:v>
                </c:pt>
                <c:pt idx="2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819-4C7E-B174-29921059BABB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3343" cy="467072"/>
          </a:xfrm>
          <a:prstGeom prst="rect">
            <a:avLst/>
          </a:prstGeom>
        </p:spPr>
        <p:txBody>
          <a:bodyPr vert="horz" lIns="92993" tIns="46497" rIns="92993" bIns="4649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1"/>
            <a:ext cx="3043343" cy="467072"/>
          </a:xfrm>
          <a:prstGeom prst="rect">
            <a:avLst/>
          </a:prstGeom>
        </p:spPr>
        <p:txBody>
          <a:bodyPr vert="horz" lIns="92993" tIns="46497" rIns="92993" bIns="46497" rtlCol="0"/>
          <a:lstStyle>
            <a:lvl1pPr algn="r">
              <a:defRPr sz="1200"/>
            </a:lvl1pPr>
          </a:lstStyle>
          <a:p>
            <a:fld id="{AA93C93A-6284-471A-A7D8-9256515EA6D3}" type="datetimeFigureOut">
              <a:rPr lang="en-US" smtClean="0"/>
              <a:t>5/2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93" tIns="46497" rIns="92993" bIns="46497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5"/>
            <a:ext cx="5618480" cy="3665458"/>
          </a:xfrm>
          <a:prstGeom prst="rect">
            <a:avLst/>
          </a:prstGeom>
        </p:spPr>
        <p:txBody>
          <a:bodyPr vert="horz" lIns="92993" tIns="46497" rIns="92993" bIns="4649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2"/>
            <a:ext cx="3043343" cy="467071"/>
          </a:xfrm>
          <a:prstGeom prst="rect">
            <a:avLst/>
          </a:prstGeom>
        </p:spPr>
        <p:txBody>
          <a:bodyPr vert="horz" lIns="92993" tIns="46497" rIns="92993" bIns="4649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2"/>
            <a:ext cx="3043343" cy="467071"/>
          </a:xfrm>
          <a:prstGeom prst="rect">
            <a:avLst/>
          </a:prstGeom>
        </p:spPr>
        <p:txBody>
          <a:bodyPr vert="horz" lIns="92993" tIns="46497" rIns="92993" bIns="46497" rtlCol="0" anchor="b"/>
          <a:lstStyle>
            <a:lvl1pPr algn="r">
              <a:defRPr sz="1200"/>
            </a:lvl1pPr>
          </a:lstStyle>
          <a:p>
            <a:fld id="{C4F04C17-AE1F-44B4-89A2-68950212362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02291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troduct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F04C17-AE1F-44B4-89A2-68950212362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834594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ottom line is most at individual level</a:t>
            </a:r>
          </a:p>
          <a:p>
            <a:r>
              <a:rPr lang="en-US" dirty="0"/>
              <a:t>Some increase in relationship focused projects</a:t>
            </a:r>
          </a:p>
          <a:p>
            <a:pPr defTabSz="930036">
              <a:defRPr/>
            </a:pPr>
            <a:r>
              <a:rPr lang="en-US" dirty="0"/>
              <a:t>(Remains very hard to cod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F04C17-AE1F-44B4-89A2-689502123629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854004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F04C17-AE1F-44B4-89A2-689502123629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148811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F04C17-AE1F-44B4-89A2-689502123629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344092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ding challeng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F04C17-AE1F-44B4-89A2-689502123629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143472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F04C17-AE1F-44B4-89A2-689502123629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558294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F04C17-AE1F-44B4-89A2-689502123629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5818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F04C17-AE1F-44B4-89A2-68950212362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67580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F04C17-AE1F-44B4-89A2-68950212362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76051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ware VAIRRS will provide new dat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F04C17-AE1F-44B4-89A2-68950212362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06782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F04C17-AE1F-44B4-89A2-68950212362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46895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me increase in intervention trials over past few years</a:t>
            </a:r>
          </a:p>
          <a:p>
            <a:endParaRPr lang="en-US" dirty="0"/>
          </a:p>
          <a:p>
            <a:r>
              <a:rPr lang="en-US" dirty="0"/>
              <a:t>This also captures demonstration projects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F04C17-AE1F-44B4-89A2-68950212362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83367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F04C17-AE1F-44B4-89A2-689502123629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79721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ore indicated projects</a:t>
            </a:r>
          </a:p>
          <a:p>
            <a:r>
              <a:rPr lang="en-US" dirty="0"/>
              <a:t>Less universal projects</a:t>
            </a:r>
          </a:p>
          <a:p>
            <a:endParaRPr lang="en-US" dirty="0"/>
          </a:p>
          <a:p>
            <a:r>
              <a:rPr lang="en-US" dirty="0"/>
              <a:t>Strategies that focus on subsets of the total population, typically at-risk groups that have a greater probability of suicide behaviors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F04C17-AE1F-44B4-89A2-689502123629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561784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creases in indicated approach</a:t>
            </a:r>
          </a:p>
          <a:p>
            <a:r>
              <a:rPr lang="en-US" dirty="0"/>
              <a:t>Decreases in selective approac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F04C17-AE1F-44B4-89A2-689502123629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50033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.xml"/><Relationship Id="rId4" Type="http://schemas.openxmlformats.org/officeDocument/2006/relationships/image" Target="../media/image13.emf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.xml"/><Relationship Id="rId4" Type="http://schemas.openxmlformats.org/officeDocument/2006/relationships/image" Target="../media/image13.emf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.xml"/><Relationship Id="rId4" Type="http://schemas.openxmlformats.org/officeDocument/2006/relationships/image" Target="../media/image13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8.xml"/><Relationship Id="rId4" Type="http://schemas.openxmlformats.org/officeDocument/2006/relationships/image" Target="../media/image13.emf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Arrow: Chevron 19">
            <a:extLst>
              <a:ext uri="{FF2B5EF4-FFF2-40B4-BE49-F238E27FC236}">
                <a16:creationId xmlns:a16="http://schemas.microsoft.com/office/drawing/2014/main" id="{2B3FC1EE-8E32-4578-9CCE-4BF967B52DDD}"/>
              </a:ext>
            </a:extLst>
          </p:cNvPr>
          <p:cNvSpPr/>
          <p:nvPr/>
        </p:nvSpPr>
        <p:spPr>
          <a:xfrm>
            <a:off x="0" y="-2"/>
            <a:ext cx="8542481" cy="6858002"/>
          </a:xfrm>
          <a:prstGeom prst="chevron">
            <a:avLst/>
          </a:prstGeom>
          <a:solidFill>
            <a:srgbClr val="003F72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9" name="Arrow: Chevron 18">
            <a:extLst>
              <a:ext uri="{FF2B5EF4-FFF2-40B4-BE49-F238E27FC236}">
                <a16:creationId xmlns:a16="http://schemas.microsoft.com/office/drawing/2014/main" id="{82909527-B22C-41AA-8AAE-4DFFB5A6CA69}"/>
              </a:ext>
            </a:extLst>
          </p:cNvPr>
          <p:cNvSpPr/>
          <p:nvPr/>
        </p:nvSpPr>
        <p:spPr>
          <a:xfrm>
            <a:off x="731520" y="-2"/>
            <a:ext cx="8542481" cy="6858002"/>
          </a:xfrm>
          <a:prstGeom prst="chevron">
            <a:avLst/>
          </a:prstGeom>
          <a:solidFill>
            <a:srgbClr val="003F72">
              <a:alpha val="8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27A8D5B-4A22-4BFD-8033-DF6A1D19336E}"/>
              </a:ext>
            </a:extLst>
          </p:cNvPr>
          <p:cNvSpPr/>
          <p:nvPr/>
        </p:nvSpPr>
        <p:spPr>
          <a:xfrm>
            <a:off x="5976976" y="1"/>
            <a:ext cx="6200775" cy="6858000"/>
          </a:xfrm>
          <a:prstGeom prst="rect">
            <a:avLst/>
          </a:prstGeom>
          <a:ln>
            <a:solidFill>
              <a:srgbClr val="003F7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Arrow: Chevron 14">
            <a:extLst>
              <a:ext uri="{FF2B5EF4-FFF2-40B4-BE49-F238E27FC236}">
                <a16:creationId xmlns:a16="http://schemas.microsoft.com/office/drawing/2014/main" id="{2F15337A-72C9-42CB-B218-7EE67B24FCF6}"/>
              </a:ext>
            </a:extLst>
          </p:cNvPr>
          <p:cNvSpPr/>
          <p:nvPr/>
        </p:nvSpPr>
        <p:spPr>
          <a:xfrm>
            <a:off x="1463040" y="1"/>
            <a:ext cx="8542481" cy="6857998"/>
          </a:xfrm>
          <a:prstGeom prst="chevron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A5DBBA2-2321-4714-9069-20BFC273E0A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39" y="3013419"/>
            <a:ext cx="3010599" cy="83116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7E8D662-283F-44E8-AD45-528994E5309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35812" y="1037787"/>
            <a:ext cx="6930870" cy="1846870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48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 dirty="0"/>
              <a:t>SPRINT Inaugural Call Slide Templat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945E6C8-52D4-4907-9A68-86C03C9B34A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035441" y="3045514"/>
            <a:ext cx="4598625" cy="2774699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40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4998475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590844"/>
            <a:ext cx="10515600" cy="92143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12D91-5F71-FE4F-A594-B9667DC218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78884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9A1115A-B566-654A-AD61-C3D1B03D5C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12D91-5F71-FE4F-A594-B9667DC218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32814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1FB3F9-8C39-4D50-BFD9-279668483B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3857A4C-1924-4219-9968-93DE8F81B0B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D27966-E9DC-4550-ACFF-E333180FF4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9DD4FA-0785-470B-AB23-5F35B31EED92}" type="datetimeFigureOut">
              <a:rPr lang="en-US" smtClean="0"/>
              <a:t>5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0A337F-86FE-42D9-8782-884C837EA5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6C038A-FDE3-46F2-A664-31EFD1D788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12B1B8-2A92-4F73-A0E0-903B11BFF3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74292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405389-753D-4176-9F69-C02D01CE2B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823A46-2BEB-4744-95A2-9188C8BD99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D740B7-948E-49C6-8152-B78B19C907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9DD4FA-0785-470B-AB23-5F35B31EED92}" type="datetimeFigureOut">
              <a:rPr lang="en-US" smtClean="0"/>
              <a:t>5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4602ED-7DE8-4658-BA36-9EE3466156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0DBCB6-B6F8-4F4B-A19B-A9ABD127C8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12B1B8-2A92-4F73-A0E0-903B11BFF3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83964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C01AC5-CEE0-454F-97D8-569C5578D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45BDE6-597A-48FD-B26B-DB307174B4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EAED33-01B9-4F08-B608-0464F508D1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9DD4FA-0785-470B-AB23-5F35B31EED92}" type="datetimeFigureOut">
              <a:rPr lang="en-US" smtClean="0"/>
              <a:t>5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3FC086-EE6B-4DFA-B480-E214F4F2F3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9D4B86-A2F5-4219-A83F-2EE486D6E3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12B1B8-2A92-4F73-A0E0-903B11BFF3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19302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2956A6-948A-4863-B379-7A8B04B0C9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F7A429-750A-4F66-8E88-5AFAFB8C45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4FABC00-A48A-4F23-914E-392EDE08CB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6117E00-91B7-4C18-9BF1-8B84D9A809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9DD4FA-0785-470B-AB23-5F35B31EED92}" type="datetimeFigureOut">
              <a:rPr lang="en-US" smtClean="0"/>
              <a:t>5/2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07414B0-8C07-4320-9366-FCF19D8132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DFEC9A3-22D5-49B5-8067-CA9219A427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12B1B8-2A92-4F73-A0E0-903B11BFF3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297173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9A7D73-659E-4E07-9E19-08EC8F78D2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10940F2-A566-4A49-9FF5-12FD7A4B75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CCCA676-1E36-402E-86B5-BC462C2D4D4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B0DF8FB-5D90-492E-9BBE-39AE6462C2F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48E35BB-DB4E-4BD3-8406-0988B9B74E0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C6BF2B6-E7EF-4304-9559-30361172EC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9DD4FA-0785-470B-AB23-5F35B31EED92}" type="datetimeFigureOut">
              <a:rPr lang="en-US" smtClean="0"/>
              <a:t>5/23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9E71CD3-8AAA-4C30-8364-6517E17F29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9E4DB40-ABEA-4A6F-A360-B5F5D48AD8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12B1B8-2A92-4F73-A0E0-903B11BFF3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29051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C17D2C-D7EA-4782-89E6-0E60D7A732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0F27590-6538-4F4F-BB57-F241DB67D1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9DD4FA-0785-470B-AB23-5F35B31EED92}" type="datetimeFigureOut">
              <a:rPr lang="en-US" smtClean="0"/>
              <a:t>5/23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CEE47F-26FD-42B9-9FCB-AA2FB2CBF8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566D0C-235A-4B24-A32C-E796ADB1E9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12B1B8-2A92-4F73-A0E0-903B11BFF3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86067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42D0D5D-C29E-4657-99FE-25FF0753BF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9DD4FA-0785-470B-AB23-5F35B31EED92}" type="datetimeFigureOut">
              <a:rPr lang="en-US" smtClean="0"/>
              <a:t>5/23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A2D010-26D9-4EFB-A37F-DB6A51C653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693AF8-9102-4ED4-A3B0-44ADC04A5E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12B1B8-2A92-4F73-A0E0-903B11BFF3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13225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0D5B1E-A292-4AC8-9EB7-281028CC2D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1D25E8-AE7D-47B9-B866-CB5DBAC59E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A5BE17-4B61-41DB-9BAA-138420FF216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4805C96-7B24-4332-A364-2B28BA607B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9DD4FA-0785-470B-AB23-5F35B31EED92}" type="datetimeFigureOut">
              <a:rPr lang="en-US" smtClean="0"/>
              <a:t>5/2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5EF4A23-7596-4B74-BD64-A36ED420B1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B6F6856-D5CC-46B9-AAB8-8385536340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12B1B8-2A92-4F73-A0E0-903B11BFF3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33012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2FFB6CDD-DF6D-4C00-AE55-8D56CB93BBE5}"/>
              </a:ext>
            </a:extLst>
          </p:cNvPr>
          <p:cNvSpPr/>
          <p:nvPr/>
        </p:nvSpPr>
        <p:spPr>
          <a:xfrm>
            <a:off x="11657520" y="0"/>
            <a:ext cx="534480" cy="6810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Arrow: Chevron 20">
            <a:extLst>
              <a:ext uri="{FF2B5EF4-FFF2-40B4-BE49-F238E27FC236}">
                <a16:creationId xmlns:a16="http://schemas.microsoft.com/office/drawing/2014/main" id="{BF300DFA-CBEC-4F2C-A136-CA143E9BDEC6}"/>
              </a:ext>
            </a:extLst>
          </p:cNvPr>
          <p:cNvSpPr/>
          <p:nvPr/>
        </p:nvSpPr>
        <p:spPr>
          <a:xfrm>
            <a:off x="0" y="0"/>
            <a:ext cx="12192000" cy="681037"/>
          </a:xfrm>
          <a:prstGeom prst="chevron">
            <a:avLst/>
          </a:prstGeom>
          <a:solidFill>
            <a:srgbClr val="003F72">
              <a:alpha val="5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DA9BBF-DD99-4DF6-A627-DF9AED6A70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785004"/>
            <a:ext cx="10515600" cy="9056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563EF7-87A4-4A80-905C-114A4AE286C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2"/>
              </a:buClr>
              <a:buFont typeface="Arial" panose="020B0604020202020204" pitchFamily="34" charset="0"/>
              <a:buChar char="•"/>
              <a:defRPr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7" name="Arrow: Chevron 6">
            <a:extLst>
              <a:ext uri="{FF2B5EF4-FFF2-40B4-BE49-F238E27FC236}">
                <a16:creationId xmlns:a16="http://schemas.microsoft.com/office/drawing/2014/main" id="{55DE8844-B163-4E0B-A22E-891E8BF8D072}"/>
              </a:ext>
            </a:extLst>
          </p:cNvPr>
          <p:cNvSpPr/>
          <p:nvPr/>
        </p:nvSpPr>
        <p:spPr>
          <a:xfrm>
            <a:off x="276225" y="0"/>
            <a:ext cx="11915775" cy="681037"/>
          </a:xfrm>
          <a:prstGeom prst="chevron">
            <a:avLst/>
          </a:prstGeom>
          <a:solidFill>
            <a:srgbClr val="003F72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9" name="Arrow: Chevron 8">
            <a:extLst>
              <a:ext uri="{FF2B5EF4-FFF2-40B4-BE49-F238E27FC236}">
                <a16:creationId xmlns:a16="http://schemas.microsoft.com/office/drawing/2014/main" id="{8978570B-26C5-451C-BEB9-4EE3CBF371A2}"/>
              </a:ext>
            </a:extLst>
          </p:cNvPr>
          <p:cNvSpPr/>
          <p:nvPr/>
        </p:nvSpPr>
        <p:spPr>
          <a:xfrm>
            <a:off x="543465" y="0"/>
            <a:ext cx="11648536" cy="681037"/>
          </a:xfrm>
          <a:prstGeom prst="chevron">
            <a:avLst/>
          </a:prstGeom>
          <a:solidFill>
            <a:srgbClr val="003F72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Arrow: Chevron 9">
            <a:extLst>
              <a:ext uri="{FF2B5EF4-FFF2-40B4-BE49-F238E27FC236}">
                <a16:creationId xmlns:a16="http://schemas.microsoft.com/office/drawing/2014/main" id="{FF611567-DFC3-486A-888C-B1F5E72B45A4}"/>
              </a:ext>
            </a:extLst>
          </p:cNvPr>
          <p:cNvSpPr/>
          <p:nvPr/>
        </p:nvSpPr>
        <p:spPr>
          <a:xfrm>
            <a:off x="838200" y="0"/>
            <a:ext cx="11353800" cy="681037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E00392F-0824-4E0F-96EE-3D1D1C288B8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8085" y="0"/>
            <a:ext cx="2186290" cy="603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06271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D7F214-1190-44CB-A74B-849FF0260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8A11057-F92E-4558-9054-90608A50238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B6E9260-3E53-4258-A658-DB45810FC1B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0E7D72-E38B-45B0-95BE-9E00011B29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9DD4FA-0785-470B-AB23-5F35B31EED92}" type="datetimeFigureOut">
              <a:rPr lang="en-US" smtClean="0"/>
              <a:t>5/2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1A52067-182B-4554-B72D-B5595E01E7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32B810F-49F8-45F7-883A-F2C3DACA92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12B1B8-2A92-4F73-A0E0-903B11BFF3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922147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15F6F6-ED10-49C6-8973-E19D351464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5DC41C5-163D-4818-AE6B-2CDEA7A5560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42FF69-22B1-48BE-8075-931765D68A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9DD4FA-0785-470B-AB23-5F35B31EED92}" type="datetimeFigureOut">
              <a:rPr lang="en-US" smtClean="0"/>
              <a:t>5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C3201E2-440A-44E2-977F-826F239F85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B53073-3AE9-4640-A73A-5CB0429279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12B1B8-2A92-4F73-A0E0-903B11BFF3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28989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0BA1F98-7EF3-4DBC-8547-EAF9BB1FA93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16E24CB-CBB8-4259-AF39-842431D125F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D1CECC-7CEC-4CF0-A79F-34F567318B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9DD4FA-0785-470B-AB23-5F35B31EED92}" type="datetimeFigureOut">
              <a:rPr lang="en-US" smtClean="0"/>
              <a:t>5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4B455F-A196-40DC-9A97-2B9B2421D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80F084-4CEC-484C-AF81-16809E57B6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12B1B8-2A92-4F73-A0E0-903B11BFF3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529437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87559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 txBox="1">
            <a:spLocks/>
          </p:cNvSpPr>
          <p:nvPr userDrawn="1"/>
        </p:nvSpPr>
        <p:spPr>
          <a:xfrm>
            <a:off x="3048000" y="6553200"/>
            <a:ext cx="4673600" cy="304800"/>
          </a:xfrm>
          <a:prstGeom prst="rect">
            <a:avLst/>
          </a:prstGeom>
        </p:spPr>
        <p:txBody>
          <a:bodyPr anchor="ctr"/>
          <a:lstStyle>
            <a:lvl1pPr>
              <a:defRPr sz="1000" spc="600">
                <a:solidFill>
                  <a:schemeClr val="bg1"/>
                </a:solidFill>
                <a:latin typeface="Myriad Pro"/>
                <a:cs typeface="Myriad Pro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dirty="0">
              <a:latin typeface="Georgia"/>
              <a:cs typeface="Georgia"/>
            </a:endParaRPr>
          </a:p>
        </p:txBody>
      </p:sp>
      <p:sp>
        <p:nvSpPr>
          <p:cNvPr id="4" name="Footer Placeholder 2"/>
          <p:cNvSpPr txBox="1">
            <a:spLocks/>
          </p:cNvSpPr>
          <p:nvPr userDrawn="1"/>
        </p:nvSpPr>
        <p:spPr>
          <a:xfrm>
            <a:off x="508000" y="6553200"/>
            <a:ext cx="1524000" cy="304800"/>
          </a:xfrm>
          <a:prstGeom prst="rect">
            <a:avLst/>
          </a:prstGeom>
        </p:spPr>
        <p:txBody>
          <a:bodyPr anchor="ctr"/>
          <a:lstStyle>
            <a:lvl1pPr>
              <a:defRPr sz="1000" spc="600">
                <a:solidFill>
                  <a:schemeClr val="bg1"/>
                </a:solidFill>
                <a:latin typeface="Myriad Pro"/>
                <a:cs typeface="Myriad Pro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dirty="0">
              <a:latin typeface="Georgia"/>
              <a:cs typeface="Georgia"/>
            </a:endParaRPr>
          </a:p>
        </p:txBody>
      </p:sp>
      <p:sp>
        <p:nvSpPr>
          <p:cNvPr id="5" name="Footer Placeholder 2"/>
          <p:cNvSpPr txBox="1">
            <a:spLocks/>
          </p:cNvSpPr>
          <p:nvPr userDrawn="1"/>
        </p:nvSpPr>
        <p:spPr>
          <a:xfrm>
            <a:off x="7213600" y="6553200"/>
            <a:ext cx="4673600" cy="304800"/>
          </a:xfrm>
          <a:prstGeom prst="rect">
            <a:avLst/>
          </a:prstGeom>
        </p:spPr>
        <p:txBody>
          <a:bodyPr anchor="ctr"/>
          <a:lstStyle>
            <a:lvl1pPr>
              <a:defRPr sz="1000" spc="600">
                <a:solidFill>
                  <a:schemeClr val="bg1"/>
                </a:solidFill>
                <a:latin typeface="Myriad Pro"/>
                <a:cs typeface="Myriad Pro"/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dirty="0">
              <a:latin typeface="Georgia"/>
              <a:cs typeface="Georgia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219200" y="317500"/>
            <a:ext cx="8940800" cy="292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300" cap="all" dirty="0">
                <a:solidFill>
                  <a:schemeClr val="bg1"/>
                </a:solidFill>
                <a:latin typeface="Georgia"/>
                <a:cs typeface="Georgia"/>
              </a:rPr>
              <a:t>Department</a:t>
            </a:r>
            <a:r>
              <a:rPr lang="en-US" sz="1300" cap="all" baseline="0" dirty="0">
                <a:solidFill>
                  <a:schemeClr val="bg1"/>
                </a:solidFill>
                <a:latin typeface="Georgia"/>
                <a:cs typeface="Georgia"/>
              </a:rPr>
              <a:t> Of Veterans Affairs</a:t>
            </a:r>
            <a:endParaRPr lang="en-US" sz="1300" cap="all" dirty="0">
              <a:solidFill>
                <a:schemeClr val="bg1"/>
              </a:solidFill>
              <a:latin typeface="Georgia"/>
              <a:cs typeface="Georgia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1625600" y="2743200"/>
            <a:ext cx="8940800" cy="1143000"/>
          </a:xfrm>
          <a:prstGeom prst="rect">
            <a:avLst/>
          </a:prstGeom>
          <a:solidFill>
            <a:schemeClr val="bg1"/>
          </a:solidFill>
          <a:ln w="0">
            <a:solidFill>
              <a:srgbClr val="FFFFFF"/>
            </a:solidFill>
          </a:ln>
        </p:spPr>
        <p:txBody>
          <a:bodyPr>
            <a:normAutofit/>
          </a:bodyPr>
          <a:lstStyle>
            <a:lvl1pPr algn="ctr">
              <a:defRPr sz="2400" b="1" i="0" cap="all" baseline="0">
                <a:solidFill>
                  <a:schemeClr val="bg1">
                    <a:lumMod val="50000"/>
                  </a:schemeClr>
                </a:solidFill>
                <a:latin typeface="Georgia"/>
                <a:cs typeface="Georgia"/>
              </a:defRPr>
            </a:lvl1pPr>
          </a:lstStyle>
          <a:p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5875306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2"/>
          <p:cNvSpPr txBox="1">
            <a:spLocks/>
          </p:cNvSpPr>
          <p:nvPr userDrawn="1"/>
        </p:nvSpPr>
        <p:spPr>
          <a:xfrm>
            <a:off x="3048000" y="6553200"/>
            <a:ext cx="4673600" cy="304800"/>
          </a:xfrm>
          <a:prstGeom prst="rect">
            <a:avLst/>
          </a:prstGeom>
        </p:spPr>
        <p:txBody>
          <a:bodyPr anchor="ctr"/>
          <a:lstStyle>
            <a:lvl1pPr>
              <a:defRPr sz="1000" spc="600">
                <a:solidFill>
                  <a:schemeClr val="bg1"/>
                </a:solidFill>
                <a:latin typeface="Myriad Pro"/>
                <a:cs typeface="Myriad Pro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dirty="0">
              <a:latin typeface="Georgia"/>
              <a:cs typeface="Georgia"/>
            </a:endParaRPr>
          </a:p>
        </p:txBody>
      </p:sp>
      <p:sp>
        <p:nvSpPr>
          <p:cNvPr id="5" name="Footer Placeholder 2"/>
          <p:cNvSpPr txBox="1">
            <a:spLocks/>
          </p:cNvSpPr>
          <p:nvPr userDrawn="1"/>
        </p:nvSpPr>
        <p:spPr>
          <a:xfrm>
            <a:off x="508000" y="6553200"/>
            <a:ext cx="1524000" cy="304800"/>
          </a:xfrm>
          <a:prstGeom prst="rect">
            <a:avLst/>
          </a:prstGeom>
        </p:spPr>
        <p:txBody>
          <a:bodyPr anchor="ctr"/>
          <a:lstStyle>
            <a:lvl1pPr>
              <a:defRPr sz="1000" spc="600">
                <a:solidFill>
                  <a:schemeClr val="bg1"/>
                </a:solidFill>
                <a:latin typeface="Myriad Pro"/>
                <a:cs typeface="Myriad Pro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dirty="0">
              <a:latin typeface="Georgia"/>
              <a:cs typeface="Georgia"/>
            </a:endParaRPr>
          </a:p>
        </p:txBody>
      </p:sp>
      <p:sp>
        <p:nvSpPr>
          <p:cNvPr id="6" name="Footer Placeholder 2"/>
          <p:cNvSpPr txBox="1">
            <a:spLocks/>
          </p:cNvSpPr>
          <p:nvPr userDrawn="1"/>
        </p:nvSpPr>
        <p:spPr>
          <a:xfrm>
            <a:off x="7213600" y="6553200"/>
            <a:ext cx="4673600" cy="304800"/>
          </a:xfrm>
          <a:prstGeom prst="rect">
            <a:avLst/>
          </a:prstGeom>
        </p:spPr>
        <p:txBody>
          <a:bodyPr anchor="ctr"/>
          <a:lstStyle>
            <a:lvl1pPr>
              <a:defRPr sz="1000" spc="600">
                <a:solidFill>
                  <a:schemeClr val="bg1"/>
                </a:solidFill>
                <a:latin typeface="Myriad Pro"/>
                <a:cs typeface="Myriad Pro"/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dirty="0">
              <a:latin typeface="Georgia"/>
              <a:cs typeface="Georgi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19200" y="1257300"/>
            <a:ext cx="9956800" cy="685800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l">
              <a:defRPr sz="2800" b="1" i="0">
                <a:solidFill>
                  <a:srgbClr val="174782"/>
                </a:solidFill>
                <a:latin typeface="Georgia"/>
                <a:cs typeface="Georgia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>
          <a:xfrm>
            <a:off x="1219200" y="2133600"/>
            <a:ext cx="9956800" cy="3581401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marL="27432" indent="0" algn="l">
              <a:buFont typeface="+mj-lt"/>
              <a:buAutoNum type="romanUcPeriod"/>
              <a:defRPr sz="1800" b="0">
                <a:solidFill>
                  <a:srgbClr val="7F7F7F"/>
                </a:solidFill>
                <a:latin typeface="Georgia"/>
                <a:cs typeface="Georgia"/>
              </a:defRPr>
            </a:lvl1pPr>
            <a:lvl2pPr marL="301752" indent="0" algn="l">
              <a:buFont typeface="+mj-lt"/>
              <a:buAutoNum type="alphaUcPeriod"/>
              <a:defRPr sz="1600" b="1" i="0">
                <a:solidFill>
                  <a:schemeClr val="bg1">
                    <a:lumMod val="50000"/>
                  </a:schemeClr>
                </a:solidFill>
                <a:latin typeface="Georgia"/>
                <a:cs typeface="Georgia"/>
              </a:defRPr>
            </a:lvl2pPr>
            <a:lvl3pPr marL="621792" indent="0" algn="l">
              <a:buFont typeface="+mj-lt"/>
              <a:buAutoNum type="arabicPeriod"/>
              <a:defRPr sz="1600">
                <a:solidFill>
                  <a:schemeClr val="bg1">
                    <a:lumMod val="50000"/>
                  </a:schemeClr>
                </a:solidFill>
                <a:latin typeface="Georgia"/>
                <a:cs typeface="Georgia"/>
              </a:defRPr>
            </a:lvl3pPr>
            <a:lvl4pPr marL="868680" indent="0" algn="l">
              <a:buFont typeface="+mj-lt"/>
              <a:buAutoNum type="alphaLcParenR"/>
              <a:defRPr sz="1600">
                <a:solidFill>
                  <a:schemeClr val="bg1">
                    <a:lumMod val="50000"/>
                  </a:schemeClr>
                </a:solidFill>
                <a:latin typeface="Georgia"/>
                <a:cs typeface="Georgia"/>
              </a:defRPr>
            </a:lvl4pPr>
            <a:lvl5pPr marL="1143000" indent="0" algn="l">
              <a:buFont typeface="Arial"/>
              <a:buChar char="•"/>
              <a:defRPr sz="1600">
                <a:solidFill>
                  <a:schemeClr val="bg1">
                    <a:lumMod val="50000"/>
                  </a:schemeClr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320800" y="317500"/>
            <a:ext cx="8940800" cy="292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300" cap="all" dirty="0">
                <a:solidFill>
                  <a:schemeClr val="bg1"/>
                </a:solidFill>
                <a:latin typeface="Georgia"/>
                <a:cs typeface="Georgia"/>
              </a:rPr>
              <a:t>Department</a:t>
            </a:r>
            <a:r>
              <a:rPr lang="en-US" sz="1300" cap="all" baseline="0" dirty="0">
                <a:solidFill>
                  <a:schemeClr val="bg1"/>
                </a:solidFill>
                <a:latin typeface="Georgia"/>
                <a:cs typeface="Georgia"/>
              </a:rPr>
              <a:t> Of Veterans Affairs</a:t>
            </a:r>
            <a:endParaRPr lang="en-US" sz="1300" cap="all" dirty="0">
              <a:solidFill>
                <a:schemeClr val="bg1"/>
              </a:solidFill>
              <a:latin typeface="Georgia"/>
              <a:cs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295426038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2"/>
          <p:cNvSpPr txBox="1">
            <a:spLocks/>
          </p:cNvSpPr>
          <p:nvPr userDrawn="1"/>
        </p:nvSpPr>
        <p:spPr>
          <a:xfrm>
            <a:off x="3048000" y="6553200"/>
            <a:ext cx="4673600" cy="304800"/>
          </a:xfrm>
          <a:prstGeom prst="rect">
            <a:avLst/>
          </a:prstGeom>
        </p:spPr>
        <p:txBody>
          <a:bodyPr anchor="ctr"/>
          <a:lstStyle>
            <a:lvl1pPr>
              <a:defRPr sz="1000" spc="600">
                <a:solidFill>
                  <a:schemeClr val="bg1"/>
                </a:solidFill>
                <a:latin typeface="Myriad Pro"/>
                <a:cs typeface="Myriad Pro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dirty="0">
              <a:latin typeface="Georgia"/>
              <a:cs typeface="Georgia"/>
            </a:endParaRPr>
          </a:p>
        </p:txBody>
      </p:sp>
      <p:sp>
        <p:nvSpPr>
          <p:cNvPr id="10" name="Footer Placeholder 2"/>
          <p:cNvSpPr txBox="1">
            <a:spLocks/>
          </p:cNvSpPr>
          <p:nvPr userDrawn="1"/>
        </p:nvSpPr>
        <p:spPr>
          <a:xfrm>
            <a:off x="508000" y="6553200"/>
            <a:ext cx="1524000" cy="304800"/>
          </a:xfrm>
          <a:prstGeom prst="rect">
            <a:avLst/>
          </a:prstGeom>
        </p:spPr>
        <p:txBody>
          <a:bodyPr anchor="ctr"/>
          <a:lstStyle>
            <a:lvl1pPr>
              <a:defRPr sz="1000" spc="600">
                <a:solidFill>
                  <a:schemeClr val="bg1"/>
                </a:solidFill>
                <a:latin typeface="Myriad Pro"/>
                <a:cs typeface="Myriad Pro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dirty="0">
              <a:latin typeface="Georgia"/>
              <a:cs typeface="Georgia"/>
            </a:endParaRPr>
          </a:p>
        </p:txBody>
      </p:sp>
      <p:sp>
        <p:nvSpPr>
          <p:cNvPr id="11" name="Footer Placeholder 2"/>
          <p:cNvSpPr txBox="1">
            <a:spLocks/>
          </p:cNvSpPr>
          <p:nvPr userDrawn="1"/>
        </p:nvSpPr>
        <p:spPr>
          <a:xfrm>
            <a:off x="7213600" y="6553200"/>
            <a:ext cx="4673600" cy="304800"/>
          </a:xfrm>
          <a:prstGeom prst="rect">
            <a:avLst/>
          </a:prstGeom>
        </p:spPr>
        <p:txBody>
          <a:bodyPr anchor="ctr"/>
          <a:lstStyle>
            <a:lvl1pPr>
              <a:defRPr sz="1000" spc="600">
                <a:solidFill>
                  <a:schemeClr val="bg1"/>
                </a:solidFill>
                <a:latin typeface="Myriad Pro"/>
                <a:cs typeface="Myriad Pro"/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dirty="0">
              <a:latin typeface="Georgia"/>
              <a:cs typeface="Georgia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219201" y="1935957"/>
            <a:ext cx="5389033" cy="639762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anchor="b"/>
          <a:lstStyle>
            <a:lvl1pPr marL="0" indent="0">
              <a:buNone/>
              <a:defRPr sz="2000" b="0">
                <a:solidFill>
                  <a:srgbClr val="174782"/>
                </a:solidFill>
                <a:latin typeface="Georgia"/>
                <a:cs typeface="Georgi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" hasCustomPrompt="1"/>
          </p:nvPr>
        </p:nvSpPr>
        <p:spPr>
          <a:xfrm>
            <a:off x="1219200" y="2575719"/>
            <a:ext cx="4881033" cy="2834481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marL="0" indent="0" algn="l">
              <a:buFont typeface="+mj-lt"/>
              <a:buAutoNum type="romanUcPeriod"/>
              <a:defRPr sz="1800" b="0">
                <a:solidFill>
                  <a:schemeClr val="bg1">
                    <a:lumMod val="50000"/>
                  </a:schemeClr>
                </a:solidFill>
                <a:latin typeface="Georgia"/>
                <a:cs typeface="Georgia"/>
              </a:defRPr>
            </a:lvl1pPr>
            <a:lvl2pPr marL="210312" indent="0" algn="l">
              <a:buFont typeface="+mj-lt"/>
              <a:buAutoNum type="alphaUcPeriod"/>
              <a:defRPr sz="1600" b="1" i="0">
                <a:solidFill>
                  <a:schemeClr val="bg1">
                    <a:lumMod val="50000"/>
                  </a:schemeClr>
                </a:solidFill>
                <a:latin typeface="Georgia"/>
                <a:cs typeface="Georgia"/>
              </a:defRPr>
            </a:lvl2pPr>
            <a:lvl3pPr marL="475488" indent="0" algn="l">
              <a:buFont typeface="+mj-lt"/>
              <a:buAutoNum type="arabicPeriod"/>
              <a:defRPr sz="1600">
                <a:solidFill>
                  <a:schemeClr val="bg1">
                    <a:lumMod val="50000"/>
                  </a:schemeClr>
                </a:solidFill>
                <a:latin typeface="Georgia"/>
                <a:cs typeface="Georgia"/>
              </a:defRPr>
            </a:lvl3pPr>
            <a:lvl4pPr marL="694944" indent="0" algn="l">
              <a:buFont typeface="+mj-lt"/>
              <a:buAutoNum type="alphaLcParenR"/>
              <a:defRPr sz="1600">
                <a:solidFill>
                  <a:schemeClr val="bg1">
                    <a:lumMod val="50000"/>
                  </a:schemeClr>
                </a:solidFill>
                <a:latin typeface="Georgia"/>
                <a:cs typeface="Georgia"/>
              </a:defRPr>
            </a:lvl4pPr>
            <a:lvl5pPr marL="932688" indent="0" algn="l">
              <a:buFont typeface="Arial"/>
              <a:buChar char="•"/>
              <a:defRPr sz="1600">
                <a:solidFill>
                  <a:schemeClr val="bg1">
                    <a:lumMod val="50000"/>
                  </a:schemeClr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802968" y="1935957"/>
            <a:ext cx="5389033" cy="639762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anchor="b"/>
          <a:lstStyle>
            <a:lvl1pPr marL="0" indent="0">
              <a:buNone/>
              <a:defRPr sz="2000" b="0">
                <a:solidFill>
                  <a:srgbClr val="174782"/>
                </a:solidFill>
                <a:latin typeface="Georgia"/>
                <a:cs typeface="Georgi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1219200" y="1257300"/>
            <a:ext cx="9956800" cy="685800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l">
              <a:defRPr sz="2800" b="1" i="0" baseline="0">
                <a:solidFill>
                  <a:srgbClr val="174782"/>
                </a:solidFill>
                <a:latin typeface="Georgia"/>
                <a:cs typeface="Georgia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7" hasCustomPrompt="1"/>
          </p:nvPr>
        </p:nvSpPr>
        <p:spPr>
          <a:xfrm>
            <a:off x="6807200" y="2575719"/>
            <a:ext cx="4775200" cy="2834481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marL="0" indent="0" algn="l">
              <a:buFont typeface="+mj-lt"/>
              <a:buAutoNum type="romanUcPeriod"/>
              <a:defRPr sz="1800" b="0">
                <a:solidFill>
                  <a:schemeClr val="bg1">
                    <a:lumMod val="50000"/>
                  </a:schemeClr>
                </a:solidFill>
                <a:latin typeface="Georgia"/>
                <a:cs typeface="Georgia"/>
              </a:defRPr>
            </a:lvl1pPr>
            <a:lvl2pPr marL="210312" indent="0" algn="l">
              <a:buFont typeface="+mj-lt"/>
              <a:buAutoNum type="alphaUcPeriod"/>
              <a:defRPr sz="1600" b="1" i="0">
                <a:solidFill>
                  <a:schemeClr val="bg1">
                    <a:lumMod val="50000"/>
                  </a:schemeClr>
                </a:solidFill>
                <a:latin typeface="Georgia"/>
                <a:cs typeface="Georgia"/>
              </a:defRPr>
            </a:lvl2pPr>
            <a:lvl3pPr marL="475488" indent="0" algn="l">
              <a:buFont typeface="+mj-lt"/>
              <a:buAutoNum type="arabicPeriod"/>
              <a:defRPr sz="1600">
                <a:solidFill>
                  <a:schemeClr val="bg1">
                    <a:lumMod val="50000"/>
                  </a:schemeClr>
                </a:solidFill>
                <a:latin typeface="Georgia"/>
                <a:cs typeface="Georgia"/>
              </a:defRPr>
            </a:lvl3pPr>
            <a:lvl4pPr marL="694944" indent="0" algn="l">
              <a:buFont typeface="+mj-lt"/>
              <a:buAutoNum type="alphaLcParenR"/>
              <a:defRPr sz="1600">
                <a:solidFill>
                  <a:schemeClr val="bg1">
                    <a:lumMod val="50000"/>
                  </a:schemeClr>
                </a:solidFill>
                <a:latin typeface="Georgia"/>
                <a:cs typeface="Georgia"/>
              </a:defRPr>
            </a:lvl4pPr>
            <a:lvl5pPr marL="932688" indent="0" algn="l">
              <a:buFont typeface="Arial"/>
              <a:buChar char="•"/>
              <a:defRPr sz="1600">
                <a:solidFill>
                  <a:schemeClr val="bg1">
                    <a:lumMod val="50000"/>
                  </a:schemeClr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219200" y="317500"/>
            <a:ext cx="8940800" cy="292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300" cap="all" dirty="0">
                <a:solidFill>
                  <a:schemeClr val="bg1"/>
                </a:solidFill>
                <a:latin typeface="Georgia"/>
                <a:cs typeface="Georgia"/>
              </a:rPr>
              <a:t>Department</a:t>
            </a:r>
            <a:r>
              <a:rPr lang="en-US" sz="1300" cap="all" baseline="0" dirty="0">
                <a:solidFill>
                  <a:schemeClr val="bg1"/>
                </a:solidFill>
                <a:latin typeface="Georgia"/>
                <a:cs typeface="Georgia"/>
              </a:rPr>
              <a:t> Of Veterans Affairs</a:t>
            </a:r>
            <a:endParaRPr lang="en-US" sz="1300" cap="all" dirty="0">
              <a:solidFill>
                <a:schemeClr val="bg1"/>
              </a:solidFill>
              <a:latin typeface="Georgia"/>
              <a:cs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171952937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6299200" y="1295400"/>
            <a:ext cx="5158317" cy="4191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dirty="0">
                <a:latin typeface="Georgia"/>
                <a:cs typeface="Georgia"/>
              </a:rPr>
              <a:t>Click to insert image</a:t>
            </a: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6197600" y="5667375"/>
            <a:ext cx="5158317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sz="1000">
                <a:solidFill>
                  <a:srgbClr val="3088CD"/>
                </a:solidFill>
                <a:latin typeface="Georgia" pitchFamily="18" charset="0"/>
                <a:ea typeface="Georgia" pitchFamily="18" charset="0"/>
                <a:cs typeface="Georgia" pitchFamily="18" charset="0"/>
              </a:rPr>
              <a:t>Caption Text Option 1: shown in VA Light Blue and set differently for use in calling out information</a:t>
            </a:r>
          </a:p>
        </p:txBody>
      </p:sp>
      <p:sp>
        <p:nvSpPr>
          <p:cNvPr id="7" name="Footer Placeholder 2"/>
          <p:cNvSpPr txBox="1">
            <a:spLocks/>
          </p:cNvSpPr>
          <p:nvPr userDrawn="1"/>
        </p:nvSpPr>
        <p:spPr>
          <a:xfrm>
            <a:off x="3048000" y="6553200"/>
            <a:ext cx="4673600" cy="304800"/>
          </a:xfrm>
          <a:prstGeom prst="rect">
            <a:avLst/>
          </a:prstGeom>
        </p:spPr>
        <p:txBody>
          <a:bodyPr anchor="ctr"/>
          <a:lstStyle>
            <a:lvl1pPr>
              <a:defRPr sz="1000" spc="600">
                <a:solidFill>
                  <a:schemeClr val="bg1"/>
                </a:solidFill>
                <a:latin typeface="Myriad Pro"/>
                <a:cs typeface="Myriad Pro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dirty="0">
              <a:latin typeface="Georgia"/>
              <a:cs typeface="Georgia"/>
            </a:endParaRPr>
          </a:p>
        </p:txBody>
      </p:sp>
      <p:sp>
        <p:nvSpPr>
          <p:cNvPr id="8" name="Footer Placeholder 2"/>
          <p:cNvSpPr txBox="1">
            <a:spLocks/>
          </p:cNvSpPr>
          <p:nvPr userDrawn="1"/>
        </p:nvSpPr>
        <p:spPr>
          <a:xfrm>
            <a:off x="508000" y="6553200"/>
            <a:ext cx="1524000" cy="304800"/>
          </a:xfrm>
          <a:prstGeom prst="rect">
            <a:avLst/>
          </a:prstGeom>
        </p:spPr>
        <p:txBody>
          <a:bodyPr anchor="ctr"/>
          <a:lstStyle>
            <a:lvl1pPr>
              <a:defRPr sz="1000" spc="600">
                <a:solidFill>
                  <a:schemeClr val="bg1"/>
                </a:solidFill>
                <a:latin typeface="Myriad Pro"/>
                <a:cs typeface="Myriad Pro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dirty="0">
              <a:latin typeface="Georgia"/>
              <a:cs typeface="Georgia"/>
            </a:endParaRPr>
          </a:p>
        </p:txBody>
      </p:sp>
      <p:sp>
        <p:nvSpPr>
          <p:cNvPr id="9" name="Footer Placeholder 2"/>
          <p:cNvSpPr txBox="1">
            <a:spLocks/>
          </p:cNvSpPr>
          <p:nvPr userDrawn="1"/>
        </p:nvSpPr>
        <p:spPr>
          <a:xfrm>
            <a:off x="7213600" y="6553200"/>
            <a:ext cx="4673600" cy="304800"/>
          </a:xfrm>
          <a:prstGeom prst="rect">
            <a:avLst/>
          </a:prstGeom>
        </p:spPr>
        <p:txBody>
          <a:bodyPr anchor="ctr"/>
          <a:lstStyle>
            <a:lvl1pPr>
              <a:defRPr sz="1000" spc="600">
                <a:solidFill>
                  <a:schemeClr val="bg1"/>
                </a:solidFill>
                <a:latin typeface="Myriad Pro"/>
                <a:cs typeface="Myriad Pro"/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dirty="0">
              <a:latin typeface="Georgia"/>
              <a:cs typeface="Georgia"/>
            </a:endParaRPr>
          </a:p>
        </p:txBody>
      </p:sp>
      <p:sp>
        <p:nvSpPr>
          <p:cNvPr id="11" name="Title 1"/>
          <p:cNvSpPr txBox="1">
            <a:spLocks/>
          </p:cNvSpPr>
          <p:nvPr userDrawn="1"/>
        </p:nvSpPr>
        <p:spPr>
          <a:xfrm>
            <a:off x="1219200" y="1257300"/>
            <a:ext cx="4978400" cy="952499"/>
          </a:xfrm>
          <a:prstGeom prst="rect">
            <a:avLst/>
          </a:prstGeom>
          <a:ln>
            <a:noFill/>
          </a:ln>
        </p:spPr>
        <p:txBody>
          <a:bodyPr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b="1" i="0" kern="1200">
                <a:solidFill>
                  <a:srgbClr val="174782"/>
                </a:solidFill>
                <a:latin typeface="Georgia"/>
                <a:ea typeface="+mj-ea"/>
                <a:cs typeface="Georgia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sz="2800" dirty="0"/>
              <a:t>Click to edit</a:t>
            </a:r>
            <a:r>
              <a:rPr lang="en-US" sz="2800" baseline="0" dirty="0"/>
              <a:t> title</a:t>
            </a:r>
            <a:endParaRPr lang="en-US" sz="2800" dirty="0"/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219200" y="2209800"/>
            <a:ext cx="4974336" cy="3581401"/>
          </a:xfrm>
          <a:prstGeom prst="rect">
            <a:avLst/>
          </a:prstGeom>
          <a:ln>
            <a:noFill/>
          </a:ln>
        </p:spPr>
        <p:txBody>
          <a:bodyPr/>
          <a:lstStyle>
            <a:lvl1pPr marL="27432" indent="0" algn="l">
              <a:buFont typeface="+mj-lt"/>
              <a:buAutoNum type="romanUcPeriod"/>
              <a:defRPr sz="1800" b="0">
                <a:solidFill>
                  <a:schemeClr val="bg1">
                    <a:lumMod val="50000"/>
                  </a:schemeClr>
                </a:solidFill>
                <a:latin typeface="Georgia"/>
                <a:cs typeface="Georgia"/>
              </a:defRPr>
            </a:lvl1pPr>
            <a:lvl2pPr marL="301752" indent="0" algn="l">
              <a:buFont typeface="+mj-lt"/>
              <a:buAutoNum type="alphaUcPeriod"/>
              <a:defRPr sz="1600" b="1" i="0">
                <a:solidFill>
                  <a:schemeClr val="bg1">
                    <a:lumMod val="50000"/>
                  </a:schemeClr>
                </a:solidFill>
                <a:latin typeface="Georgia"/>
                <a:cs typeface="Georgia"/>
              </a:defRPr>
            </a:lvl2pPr>
            <a:lvl3pPr marL="621792" indent="0" algn="l">
              <a:buFont typeface="+mj-lt"/>
              <a:buAutoNum type="arabicPeriod"/>
              <a:defRPr sz="1600">
                <a:solidFill>
                  <a:schemeClr val="bg1">
                    <a:lumMod val="50000"/>
                  </a:schemeClr>
                </a:solidFill>
                <a:latin typeface="Georgia"/>
                <a:cs typeface="Georgia"/>
              </a:defRPr>
            </a:lvl3pPr>
            <a:lvl4pPr marL="868680" indent="0" algn="l">
              <a:buFont typeface="+mj-lt"/>
              <a:buAutoNum type="alphaLcParenR"/>
              <a:defRPr sz="1600">
                <a:solidFill>
                  <a:schemeClr val="bg1">
                    <a:lumMod val="50000"/>
                  </a:schemeClr>
                </a:solidFill>
                <a:latin typeface="Georgia"/>
                <a:cs typeface="Georgia"/>
              </a:defRPr>
            </a:lvl4pPr>
            <a:lvl5pPr marL="1143000" indent="0" algn="l">
              <a:buFont typeface="Arial"/>
              <a:buChar char="•"/>
              <a:defRPr sz="1600">
                <a:solidFill>
                  <a:schemeClr val="bg1">
                    <a:lumMod val="50000"/>
                  </a:schemeClr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219200" y="317500"/>
            <a:ext cx="8940800" cy="292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300" cap="all" dirty="0">
                <a:solidFill>
                  <a:schemeClr val="bg1"/>
                </a:solidFill>
                <a:latin typeface="Georgia"/>
                <a:cs typeface="Georgia"/>
              </a:rPr>
              <a:t>Department</a:t>
            </a:r>
            <a:r>
              <a:rPr lang="en-US" sz="1300" cap="all" baseline="0" dirty="0">
                <a:solidFill>
                  <a:schemeClr val="bg1"/>
                </a:solidFill>
                <a:latin typeface="Georgia"/>
                <a:cs typeface="Georgia"/>
              </a:rPr>
              <a:t> Of Veterans Affairs</a:t>
            </a:r>
            <a:endParaRPr lang="en-US" sz="1300" cap="all" dirty="0">
              <a:solidFill>
                <a:schemeClr val="bg1"/>
              </a:solidFill>
              <a:latin typeface="Georgia"/>
              <a:cs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332174069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422400" y="1295400"/>
            <a:ext cx="4572000" cy="33528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dirty="0">
                <a:latin typeface="Georgia"/>
                <a:cs typeface="Georgia"/>
              </a:rPr>
              <a:t>Click to insert imag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6197600" y="1295400"/>
            <a:ext cx="4572000" cy="33528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dirty="0">
                <a:latin typeface="Georgia"/>
                <a:cs typeface="Georgia"/>
              </a:rPr>
              <a:t>Click to insert image</a:t>
            </a:r>
          </a:p>
        </p:txBody>
      </p:sp>
      <p:sp>
        <p:nvSpPr>
          <p:cNvPr id="7" name="Footer Placeholder 2"/>
          <p:cNvSpPr txBox="1">
            <a:spLocks/>
          </p:cNvSpPr>
          <p:nvPr userDrawn="1"/>
        </p:nvSpPr>
        <p:spPr>
          <a:xfrm>
            <a:off x="3048000" y="6553200"/>
            <a:ext cx="4673600" cy="304800"/>
          </a:xfrm>
          <a:prstGeom prst="rect">
            <a:avLst/>
          </a:prstGeom>
        </p:spPr>
        <p:txBody>
          <a:bodyPr anchor="ctr"/>
          <a:lstStyle>
            <a:lvl1pPr>
              <a:defRPr sz="1000" spc="600">
                <a:solidFill>
                  <a:schemeClr val="bg1"/>
                </a:solidFill>
                <a:latin typeface="Myriad Pro"/>
                <a:cs typeface="Myriad Pro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dirty="0">
              <a:latin typeface="Georgia"/>
              <a:cs typeface="Georgia"/>
            </a:endParaRPr>
          </a:p>
        </p:txBody>
      </p:sp>
      <p:sp>
        <p:nvSpPr>
          <p:cNvPr id="8" name="Footer Placeholder 2"/>
          <p:cNvSpPr txBox="1">
            <a:spLocks/>
          </p:cNvSpPr>
          <p:nvPr userDrawn="1"/>
        </p:nvSpPr>
        <p:spPr>
          <a:xfrm>
            <a:off x="508000" y="6553200"/>
            <a:ext cx="1524000" cy="304800"/>
          </a:xfrm>
          <a:prstGeom prst="rect">
            <a:avLst/>
          </a:prstGeom>
        </p:spPr>
        <p:txBody>
          <a:bodyPr anchor="ctr"/>
          <a:lstStyle>
            <a:lvl1pPr>
              <a:defRPr sz="1000" spc="600">
                <a:solidFill>
                  <a:schemeClr val="bg1"/>
                </a:solidFill>
                <a:latin typeface="Myriad Pro"/>
                <a:cs typeface="Myriad Pro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dirty="0">
              <a:latin typeface="Georgia"/>
              <a:cs typeface="Georgia"/>
            </a:endParaRPr>
          </a:p>
        </p:txBody>
      </p:sp>
      <p:sp>
        <p:nvSpPr>
          <p:cNvPr id="9" name="Footer Placeholder 2"/>
          <p:cNvSpPr txBox="1">
            <a:spLocks/>
          </p:cNvSpPr>
          <p:nvPr userDrawn="1"/>
        </p:nvSpPr>
        <p:spPr>
          <a:xfrm>
            <a:off x="7213600" y="6553200"/>
            <a:ext cx="4673600" cy="304800"/>
          </a:xfrm>
          <a:prstGeom prst="rect">
            <a:avLst/>
          </a:prstGeom>
        </p:spPr>
        <p:txBody>
          <a:bodyPr anchor="ctr"/>
          <a:lstStyle>
            <a:lvl1pPr>
              <a:defRPr sz="1000" spc="600">
                <a:solidFill>
                  <a:schemeClr val="bg1"/>
                </a:solidFill>
                <a:latin typeface="Myriad Pro"/>
                <a:cs typeface="Myriad Pro"/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dirty="0">
              <a:latin typeface="Georgia"/>
              <a:cs typeface="Georgi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20800" y="4876800"/>
            <a:ext cx="7112000" cy="457200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anchor="t"/>
          <a:lstStyle>
            <a:lvl1pPr algn="l">
              <a:defRPr sz="2000" b="1" baseline="0">
                <a:solidFill>
                  <a:srgbClr val="7F7F7F"/>
                </a:solidFill>
                <a:latin typeface="Georgia"/>
                <a:cs typeface="Georgia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1320800" y="5334000"/>
            <a:ext cx="9448800" cy="990600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marL="0" indent="0">
              <a:buNone/>
              <a:defRPr sz="1400" baseline="0">
                <a:solidFill>
                  <a:srgbClr val="7F7F7F"/>
                </a:solidFill>
                <a:latin typeface="Georgia"/>
                <a:cs typeface="Georgi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219200" y="317500"/>
            <a:ext cx="8940800" cy="292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300" cap="all" dirty="0">
                <a:solidFill>
                  <a:schemeClr val="bg1"/>
                </a:solidFill>
                <a:latin typeface="Georgia"/>
                <a:cs typeface="Georgia"/>
              </a:rPr>
              <a:t>Department</a:t>
            </a:r>
            <a:r>
              <a:rPr lang="en-US" sz="1300" cap="all" baseline="0" dirty="0">
                <a:solidFill>
                  <a:schemeClr val="bg1"/>
                </a:solidFill>
                <a:latin typeface="Georgia"/>
                <a:cs typeface="Georgia"/>
              </a:rPr>
              <a:t> Of Veterans Affairs</a:t>
            </a:r>
            <a:endParaRPr lang="en-US" sz="1300" cap="all" dirty="0">
              <a:solidFill>
                <a:schemeClr val="bg1"/>
              </a:solidFill>
              <a:latin typeface="Georgia"/>
              <a:cs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239014954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422400" y="1371600"/>
            <a:ext cx="3048000" cy="2667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latin typeface="Georgia"/>
                <a:cs typeface="Georgia"/>
              </a:rPr>
              <a:t>Click to insert imag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4572000" y="1371600"/>
            <a:ext cx="3048000" cy="2667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latin typeface="Georgia"/>
                <a:cs typeface="Georgia"/>
              </a:rPr>
              <a:t>Click to insert imag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7721600" y="1371600"/>
            <a:ext cx="3048000" cy="2667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latin typeface="Georgia"/>
                <a:cs typeface="Georgia"/>
              </a:rPr>
              <a:t>Click to insert image</a:t>
            </a:r>
          </a:p>
        </p:txBody>
      </p:sp>
      <p:sp>
        <p:nvSpPr>
          <p:cNvPr id="8" name="Footer Placeholder 2"/>
          <p:cNvSpPr txBox="1">
            <a:spLocks/>
          </p:cNvSpPr>
          <p:nvPr userDrawn="1"/>
        </p:nvSpPr>
        <p:spPr>
          <a:xfrm>
            <a:off x="3048000" y="6553200"/>
            <a:ext cx="4673600" cy="304800"/>
          </a:xfrm>
          <a:prstGeom prst="rect">
            <a:avLst/>
          </a:prstGeom>
        </p:spPr>
        <p:txBody>
          <a:bodyPr anchor="ctr"/>
          <a:lstStyle>
            <a:lvl1pPr>
              <a:defRPr sz="1000" spc="600">
                <a:solidFill>
                  <a:schemeClr val="bg1"/>
                </a:solidFill>
                <a:latin typeface="Myriad Pro"/>
                <a:cs typeface="Myriad Pro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dirty="0">
              <a:latin typeface="Georgia"/>
              <a:cs typeface="Georgia"/>
            </a:endParaRPr>
          </a:p>
        </p:txBody>
      </p:sp>
      <p:sp>
        <p:nvSpPr>
          <p:cNvPr id="9" name="Footer Placeholder 2"/>
          <p:cNvSpPr txBox="1">
            <a:spLocks/>
          </p:cNvSpPr>
          <p:nvPr userDrawn="1"/>
        </p:nvSpPr>
        <p:spPr>
          <a:xfrm>
            <a:off x="508000" y="6553200"/>
            <a:ext cx="1524000" cy="304800"/>
          </a:xfrm>
          <a:prstGeom prst="rect">
            <a:avLst/>
          </a:prstGeom>
        </p:spPr>
        <p:txBody>
          <a:bodyPr anchor="ctr"/>
          <a:lstStyle>
            <a:lvl1pPr>
              <a:defRPr sz="1000" spc="600">
                <a:solidFill>
                  <a:schemeClr val="bg1"/>
                </a:solidFill>
                <a:latin typeface="Myriad Pro"/>
                <a:cs typeface="Myriad Pro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dirty="0">
              <a:latin typeface="Georgia"/>
              <a:cs typeface="Georgia"/>
            </a:endParaRPr>
          </a:p>
        </p:txBody>
      </p:sp>
      <p:sp>
        <p:nvSpPr>
          <p:cNvPr id="10" name="Footer Placeholder 2"/>
          <p:cNvSpPr txBox="1">
            <a:spLocks/>
          </p:cNvSpPr>
          <p:nvPr userDrawn="1"/>
        </p:nvSpPr>
        <p:spPr>
          <a:xfrm>
            <a:off x="7213600" y="6553200"/>
            <a:ext cx="4673600" cy="304800"/>
          </a:xfrm>
          <a:prstGeom prst="rect">
            <a:avLst/>
          </a:prstGeom>
        </p:spPr>
        <p:txBody>
          <a:bodyPr anchor="ctr"/>
          <a:lstStyle>
            <a:lvl1pPr>
              <a:defRPr sz="1000" spc="600">
                <a:solidFill>
                  <a:schemeClr val="bg1"/>
                </a:solidFill>
                <a:latin typeface="Myriad Pro"/>
                <a:cs typeface="Myriad Pro"/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00" dirty="0">
              <a:latin typeface="Georgia"/>
              <a:cs typeface="Georgi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20800" y="4267200"/>
            <a:ext cx="5892800" cy="457200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anchor="t"/>
          <a:lstStyle>
            <a:lvl1pPr algn="l">
              <a:defRPr sz="2000" b="1">
                <a:solidFill>
                  <a:srgbClr val="7F7F7F"/>
                </a:solidFill>
                <a:latin typeface="Georgia"/>
                <a:cs typeface="Georgia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1320800" y="4724400"/>
            <a:ext cx="9448800" cy="1447800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400">
                <a:solidFill>
                  <a:srgbClr val="7F7F7F"/>
                </a:solidFill>
                <a:latin typeface="Georgia"/>
                <a:cs typeface="Georgia"/>
              </a:defRPr>
            </a:lvl1pPr>
            <a:lvl2pPr marL="457200" indent="0">
              <a:buNone/>
              <a:defRPr sz="1400" baseline="0">
                <a:solidFill>
                  <a:schemeClr val="bg1">
                    <a:lumMod val="50000"/>
                  </a:schemeClr>
                </a:solidFill>
                <a:latin typeface="Georgia" panose="02040502050405020303" pitchFamily="18" charset="0"/>
              </a:defRPr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219200" y="317500"/>
            <a:ext cx="8940800" cy="292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300" cap="all" dirty="0">
                <a:solidFill>
                  <a:schemeClr val="bg1"/>
                </a:solidFill>
                <a:latin typeface="Georgia"/>
                <a:cs typeface="Georgia"/>
              </a:rPr>
              <a:t>Department</a:t>
            </a:r>
            <a:r>
              <a:rPr lang="en-US" sz="1300" cap="all" baseline="0" dirty="0">
                <a:solidFill>
                  <a:schemeClr val="bg1"/>
                </a:solidFill>
                <a:latin typeface="Georgia"/>
                <a:cs typeface="Georgia"/>
              </a:rPr>
              <a:t> Of Veterans Affairs</a:t>
            </a:r>
            <a:endParaRPr lang="en-US" sz="1300" cap="all" dirty="0">
              <a:solidFill>
                <a:schemeClr val="bg1"/>
              </a:solidFill>
              <a:latin typeface="Georgia"/>
              <a:cs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35870179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-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rrow: Chevron 4">
            <a:extLst>
              <a:ext uri="{FF2B5EF4-FFF2-40B4-BE49-F238E27FC236}">
                <a16:creationId xmlns:a16="http://schemas.microsoft.com/office/drawing/2014/main" id="{ABCD46A7-56E9-4590-B067-04CB515F8CDB}"/>
              </a:ext>
            </a:extLst>
          </p:cNvPr>
          <p:cNvSpPr/>
          <p:nvPr/>
        </p:nvSpPr>
        <p:spPr>
          <a:xfrm>
            <a:off x="0" y="1095556"/>
            <a:ext cx="12192000" cy="4666890"/>
          </a:xfrm>
          <a:prstGeom prst="chevron">
            <a:avLst/>
          </a:prstGeom>
          <a:solidFill>
            <a:srgbClr val="003F72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" name="Arrow: Chevron 5">
            <a:extLst>
              <a:ext uri="{FF2B5EF4-FFF2-40B4-BE49-F238E27FC236}">
                <a16:creationId xmlns:a16="http://schemas.microsoft.com/office/drawing/2014/main" id="{E0FBBD00-46BF-4917-89AC-7CA3ACDFD363}"/>
              </a:ext>
            </a:extLst>
          </p:cNvPr>
          <p:cNvSpPr/>
          <p:nvPr/>
        </p:nvSpPr>
        <p:spPr>
          <a:xfrm>
            <a:off x="595222" y="1095555"/>
            <a:ext cx="11596777" cy="4666889"/>
          </a:xfrm>
          <a:prstGeom prst="chevron">
            <a:avLst/>
          </a:prstGeom>
          <a:solidFill>
            <a:srgbClr val="003F72">
              <a:alpha val="8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" name="Arrow: Chevron 6">
            <a:extLst>
              <a:ext uri="{FF2B5EF4-FFF2-40B4-BE49-F238E27FC236}">
                <a16:creationId xmlns:a16="http://schemas.microsoft.com/office/drawing/2014/main" id="{CE1A664F-D3FC-49B4-B55F-7E9F67CD80D3}"/>
              </a:ext>
            </a:extLst>
          </p:cNvPr>
          <p:cNvSpPr/>
          <p:nvPr/>
        </p:nvSpPr>
        <p:spPr>
          <a:xfrm>
            <a:off x="1311214" y="1095553"/>
            <a:ext cx="10880785" cy="4666889"/>
          </a:xfrm>
          <a:prstGeom prst="chevr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324B1A-7F91-400E-A2FE-0A86CF45F6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87484" y="2958860"/>
            <a:ext cx="5686245" cy="197544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ub-sect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4C5C853-2C6E-43C4-8F62-F35C509F89C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586" y="3159285"/>
            <a:ext cx="1953880" cy="539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294568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640719"/>
            <a:ext cx="10515600" cy="1055076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12D91-5F71-FE4F-A594-B9667DC218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0015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832624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76200"/>
            <a:ext cx="12192000" cy="762000"/>
          </a:xfrm>
          <a:solidFill>
            <a:schemeClr val="tx2"/>
          </a:solidFill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838201"/>
            <a:ext cx="10972800" cy="528805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548393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762000"/>
          </a:xfrm>
          <a:solidFill>
            <a:schemeClr val="tx2"/>
          </a:solidFill>
        </p:spPr>
        <p:txBody>
          <a:bodyPr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457200"/>
            <a:r>
              <a:rPr lang="it-IT"/>
              <a:t>Draft - Pre-Decisional Deliberative Document </a:t>
            </a:r>
          </a:p>
          <a:p>
            <a:pPr defTabSz="457200"/>
            <a:r>
              <a:rPr lang="it-IT"/>
              <a:t>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191783297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2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63496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304040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597877"/>
            <a:ext cx="10515600" cy="92143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582619"/>
            <a:ext cx="5181600" cy="417107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582619"/>
            <a:ext cx="5181600" cy="417107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12D91-5F71-FE4F-A594-B9667DC218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993778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2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8809123"/>
      </p:ext>
    </p:extLst>
  </p:cSld>
  <p:clrMapOvr>
    <a:masterClrMapping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DD2AB52-3520-4185-840D-6964902781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34623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DD2AB52-3520-4185-840D-6964902781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166264"/>
            <a:ext cx="10515600" cy="618385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2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131490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2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 descr="&quot;&quot;">
            <a:extLst>
              <a:ext uri="{FF2B5EF4-FFF2-40B4-BE49-F238E27FC236}">
                <a16:creationId xmlns:a16="http://schemas.microsoft.com/office/drawing/2014/main" id="{BEAC91FE-22FD-4E6A-87EB-4B75B31CDEB8}"/>
              </a:ext>
            </a:extLst>
          </p:cNvPr>
          <p:cNvCxnSpPr/>
          <p:nvPr userDrawn="1"/>
        </p:nvCxnSpPr>
        <p:spPr>
          <a:xfrm>
            <a:off x="831851" y="3571876"/>
            <a:ext cx="10515600" cy="0"/>
          </a:xfrm>
          <a:prstGeom prst="line">
            <a:avLst/>
          </a:prstGeom>
          <a:ln>
            <a:solidFill>
              <a:srgbClr val="003F7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69833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597877"/>
            <a:ext cx="10515600" cy="92143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582619"/>
            <a:ext cx="5181600" cy="417107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582619"/>
            <a:ext cx="5181600" cy="417107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12D91-5F71-FE4F-A594-B9667DC218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509095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23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8793110"/>
      </p:ext>
    </p:extLst>
  </p:cSld>
  <p:clrMapOvr>
    <a:masterClrMapping/>
  </p:clrMapOvr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23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878470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23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597479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23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9782259"/>
      </p:ext>
    </p:extLst>
  </p:cSld>
  <p:clrMapOvr>
    <a:masterClrMapping/>
  </p:clrMapOvr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23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2722718"/>
      </p:ext>
    </p:extLst>
  </p:cSld>
  <p:clrMapOvr>
    <a:masterClrMapping/>
  </p:clrMapOvr>
  <p:hf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23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9869728"/>
      </p:ext>
    </p:extLst>
  </p:cSld>
  <p:clrMapOvr>
    <a:masterClrMapping/>
  </p:clrMapOvr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2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6066111"/>
      </p:ext>
    </p:extLst>
  </p:cSld>
  <p:clrMapOvr>
    <a:masterClrMapping/>
  </p:clrMapOvr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2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4602516"/>
      </p:ext>
    </p:extLst>
  </p:cSld>
  <p:clrMapOvr>
    <a:masterClrMapping/>
  </p:clrMapOvr>
  <p:hf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2763838"/>
            <a:ext cx="10363200" cy="1330324"/>
          </a:xfrm>
        </p:spPr>
        <p:txBody>
          <a:bodyPr anchor="ctr">
            <a:normAutofit/>
          </a:bodyPr>
          <a:lstStyle>
            <a:lvl1pPr algn="ctr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6415"/>
            <a:ext cx="9144000" cy="6905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E38B46A-E2D9-F648-8C4B-C6DF64595CD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24000" y="5006977"/>
            <a:ext cx="9144000" cy="77470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latin typeface="+mj-lt"/>
              </a:defRPr>
            </a:lvl1pPr>
          </a:lstStyle>
          <a:p>
            <a:pPr lvl="0"/>
            <a:r>
              <a:rPr lang="en-US"/>
              <a:t>Briefer: Name and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05287A-C762-B04C-8C78-1932680E8B8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DCF8BCC-BFA1-F642-84C1-3DEA215A8F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7320" y="1076323"/>
            <a:ext cx="1737360" cy="1633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26931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8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 Al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133857"/>
            <a:ext cx="10515600" cy="4818857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FD912DB-CF58-2B44-B78F-FA5C3CCFF15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3383279" y="982664"/>
            <a:ext cx="3108113" cy="50641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Insert alt text for complex graphic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07301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6FD7924-A201-A543-8242-F2F5648492D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73721" y="2208628"/>
            <a:ext cx="5209736" cy="1983624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73721" y="4392963"/>
            <a:ext cx="5209736" cy="1131740"/>
          </a:xfrm>
        </p:spPr>
        <p:txBody>
          <a:bodyPr>
            <a:normAutofit/>
          </a:bodyPr>
          <a:lstStyle>
            <a:lvl1pPr marL="0" indent="0" algn="l">
              <a:buNone/>
              <a:defRPr sz="200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73721" y="5784059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200" i="1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47B3BEB-1174-1B42-B9AC-4E46D655D84B}"/>
              </a:ext>
            </a:extLst>
          </p:cNvPr>
          <p:cNvCxnSpPr>
            <a:cxnSpLocks/>
          </p:cNvCxnSpPr>
          <p:nvPr userDrawn="1"/>
        </p:nvCxnSpPr>
        <p:spPr>
          <a:xfrm>
            <a:off x="905024" y="4255558"/>
            <a:ext cx="4919001" cy="0"/>
          </a:xfrm>
          <a:prstGeom prst="line">
            <a:avLst/>
          </a:prstGeom>
          <a:ln w="19050">
            <a:solidFill>
              <a:srgbClr val="0194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234140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 holder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133857"/>
            <a:ext cx="10515600" cy="2076935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09A16403-64DA-D349-9AAF-2952A411FC8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38200" y="3523766"/>
            <a:ext cx="10515600" cy="2076935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414172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and Sidebar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2" y="1133856"/>
            <a:ext cx="6878781" cy="4830526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3EDEFD9-BFED-434F-8D05-9CA4431F495F}"/>
              </a:ext>
            </a:extLst>
          </p:cNvPr>
          <p:cNvCxnSpPr/>
          <p:nvPr userDrawn="1"/>
        </p:nvCxnSpPr>
        <p:spPr>
          <a:xfrm>
            <a:off x="7790688" y="1133856"/>
            <a:ext cx="0" cy="4830526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710610B-BCCF-034B-B401-A7C2A95FDAB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854696" y="1133857"/>
            <a:ext cx="3499104" cy="2586089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1EE1AA3-98A0-E149-81B7-A4FC8FBABDD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854697" y="3719946"/>
            <a:ext cx="3499104" cy="2244437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959448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and Two Supporting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2" y="1133856"/>
            <a:ext cx="4438649" cy="4830526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710610B-BCCF-034B-B401-A7C2A95FDAB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486400" y="1133857"/>
            <a:ext cx="5867400" cy="2586089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1EE1AA3-98A0-E149-81B7-A4FC8FBABDD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486401" y="3719946"/>
            <a:ext cx="5867401" cy="2244437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23819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and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idx="1"/>
          </p:nvPr>
        </p:nvSpPr>
        <p:spPr>
          <a:xfrm>
            <a:off x="838201" y="1133856"/>
            <a:ext cx="10515599" cy="1858726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710610B-BCCF-034B-B401-A7C2A95FDAB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38200" y="3087348"/>
            <a:ext cx="3413760" cy="1391135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ontent Placeholder 2b">
            <a:extLst>
              <a:ext uri="{FF2B5EF4-FFF2-40B4-BE49-F238E27FC236}">
                <a16:creationId xmlns:a16="http://schemas.microsoft.com/office/drawing/2014/main" id="{7ADB0280-2725-5348-9620-05FFA815C35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38200" y="4573248"/>
            <a:ext cx="3413760" cy="1388641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11EE1AA3-98A0-E149-81B7-A4FC8FBABDD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389119" y="3088594"/>
            <a:ext cx="3413760" cy="1389888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Content Placeholder 3b">
            <a:extLst>
              <a:ext uri="{FF2B5EF4-FFF2-40B4-BE49-F238E27FC236}">
                <a16:creationId xmlns:a16="http://schemas.microsoft.com/office/drawing/2014/main" id="{C41BE50D-B3FE-114C-BA57-58A4DEA04B5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4389119" y="4574494"/>
            <a:ext cx="3413760" cy="1389888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255A5921-CC24-C744-992F-90BB2C7F7737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7940039" y="3089841"/>
            <a:ext cx="3413760" cy="1389888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4b">
            <a:extLst>
              <a:ext uri="{FF2B5EF4-FFF2-40B4-BE49-F238E27FC236}">
                <a16:creationId xmlns:a16="http://schemas.microsoft.com/office/drawing/2014/main" id="{1F9DC565-F7CD-4D49-BBFE-54E017FCDBC7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940039" y="4573247"/>
            <a:ext cx="3413760" cy="1389888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32477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eader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19B824-BC4D-BC4E-8F89-7891519784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126D2C3-64E2-7440-99AC-F8DC77F0E9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9" y="1137442"/>
            <a:ext cx="10514011" cy="421194"/>
          </a:xfrm>
        </p:spPr>
        <p:txBody>
          <a:bodyPr anchor="t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3D4B0C3-AED5-1149-A608-D92E5AF5417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838200" y="1641764"/>
            <a:ext cx="10515600" cy="4281993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A79C999-42AF-3D4F-A523-E1CD404839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360271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wo subheading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19B824-BC4D-BC4E-8F89-7891519784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126D2C3-64E2-7440-99AC-F8DC77F0E9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9" y="1137442"/>
            <a:ext cx="10514011" cy="421194"/>
          </a:xfrm>
        </p:spPr>
        <p:txBody>
          <a:bodyPr anchor="t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3D4B0C3-AED5-1149-A608-D92E5AF5417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838200" y="1641765"/>
            <a:ext cx="10515600" cy="1735281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2669C5-C031-0949-BCEF-538915E07FD2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839789" y="3589697"/>
            <a:ext cx="10514011" cy="421194"/>
          </a:xfrm>
        </p:spPr>
        <p:txBody>
          <a:bodyPr anchor="t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5809810-9DB7-E84D-9C39-5D795F1B7EE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38200" y="4094020"/>
            <a:ext cx="10515600" cy="1735281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A79C999-42AF-3D4F-A523-E1CD404839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795038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079501"/>
            <a:ext cx="5181600" cy="4831442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079501"/>
            <a:ext cx="5181600" cy="4831443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993996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ontent 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19743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2EBA3E1E-B72D-5841-BE68-B0030368BE0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200" y="1058864"/>
            <a:ext cx="5471584" cy="211747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2D7FA09-D982-8A4E-B298-316DB9B05D1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8200" y="3401011"/>
            <a:ext cx="5471584" cy="253523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5DDD0237-E847-CA45-B519-10F5341252A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485021" y="1058864"/>
            <a:ext cx="5471584" cy="48773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098438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DD2AB52-3520-4185-840D-6964902781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9699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DD2AB52-3520-4185-840D-6964902781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166264"/>
            <a:ext cx="10515600" cy="618385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2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4250804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23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1127081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597878"/>
            <a:ext cx="10515600" cy="92847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589653"/>
            <a:ext cx="10515600" cy="40655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217711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23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454598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DD2AB52-3520-4185-840D-6964902781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5866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DD2AB52-3520-4185-840D-6964902781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166264"/>
            <a:ext cx="10515600" cy="618385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2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5982039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DD2AB52-3520-4185-840D-6964902781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9932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DD2AB52-3520-4185-840D-6964902781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166264"/>
            <a:ext cx="10515600" cy="618385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2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857425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274743" y="6356350"/>
            <a:ext cx="2743200" cy="365125"/>
          </a:xfrm>
        </p:spPr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288070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23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7399902"/>
      </p:ext>
    </p:extLst>
  </p:cSld>
  <p:clrMapOvr>
    <a:masterClrMapping/>
  </p:clrMapOvr>
  <p:hf hdr="0" ftr="0" dt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2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7" name="Straight Connector 6" descr="&quot;&quot;">
            <a:extLst>
              <a:ext uri="{FF2B5EF4-FFF2-40B4-BE49-F238E27FC236}">
                <a16:creationId xmlns:a16="http://schemas.microsoft.com/office/drawing/2014/main" id="{BEAC91FE-22FD-4E6A-87EB-4B75B31CDEB8}"/>
              </a:ext>
            </a:extLst>
          </p:cNvPr>
          <p:cNvCxnSpPr/>
          <p:nvPr userDrawn="1"/>
        </p:nvCxnSpPr>
        <p:spPr>
          <a:xfrm>
            <a:off x="831851" y="3571876"/>
            <a:ext cx="10515600" cy="0"/>
          </a:xfrm>
          <a:prstGeom prst="line">
            <a:avLst/>
          </a:prstGeom>
          <a:ln>
            <a:solidFill>
              <a:srgbClr val="003F7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484420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BFC893-4577-1D48-A99A-6A89E33B5B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838F363-0FCB-3048-B8A3-DDC8FCFF3BE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C9ED58A-B53F-FE46-8A4B-3E80D4FAC859}" type="datetime1">
              <a:rPr lang="en-US" smtClean="0"/>
              <a:t>5/23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FFEDBF6-58C6-A946-8B87-6165669262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832C68-9A3A-D648-9EA9-4AA633EC71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722E2A-141F-C448-A6A8-A8420CD539E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556802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454D44-6E02-1843-964D-03DAA17B06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5EE9341-A907-3548-8C22-D74E5B992C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>
            <a:noAutofit/>
          </a:bodyPr>
          <a:lstStyle>
            <a:lvl1pPr>
              <a:defRPr lang="en-US" dirty="0"/>
            </a:lvl1pPr>
            <a:lvl2pPr>
              <a:defRPr lang="en-US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>
                <a:solidFill>
                  <a:schemeClr val="bg1"/>
                </a:solidFill>
                <a:latin typeface="+mn-lt"/>
                <a:cs typeface="+mn-cs"/>
              </a:defRPr>
            </a:lvl5pPr>
          </a:lstStyle>
          <a:p>
            <a:pPr lvl="0">
              <a:spcAft>
                <a:spcPts val="0"/>
              </a:spcAft>
              <a:buClr>
                <a:schemeClr val="accent4"/>
              </a:buClr>
              <a:buSzPct val="85000"/>
              <a:buFont typeface=".Lucida Grande UI Regular"/>
              <a:buChar char="◆"/>
              <a:tabLst/>
            </a:pPr>
            <a:r>
              <a:rPr lang="en-US" dirty="0"/>
              <a:t>Click to edit Master text styles</a:t>
            </a:r>
          </a:p>
          <a:p>
            <a:pPr marL="625474" lvl="1">
              <a:buClr>
                <a:schemeClr val="accent4"/>
              </a:buClr>
              <a:buSzPct val="85000"/>
              <a:buFont typeface="Wingdings" pitchFamily="2" charset="2"/>
              <a:buChar char="Ø"/>
            </a:pPr>
            <a:r>
              <a:rPr lang="en-US" dirty="0"/>
              <a:t>Second level</a:t>
            </a:r>
          </a:p>
          <a:p>
            <a:pPr lvl="2">
              <a:buClr>
                <a:schemeClr val="accent4"/>
              </a:buClr>
              <a:tabLst/>
            </a:pPr>
            <a:r>
              <a:rPr lang="en-US" dirty="0"/>
              <a:t>Third level</a:t>
            </a:r>
          </a:p>
          <a:p>
            <a:pPr lvl="3">
              <a:buClr>
                <a:schemeClr val="accent4"/>
              </a:buClr>
              <a:buSzPct val="100000"/>
              <a:buFont typeface="System Font Regular"/>
              <a:buChar char="–"/>
              <a:tabLst/>
            </a:pPr>
            <a:r>
              <a:rPr lang="en-US" dirty="0"/>
              <a:t>Fourth level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6FF51F92-C104-5D41-9019-83D51CAC64E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1120" y="6485140"/>
            <a:ext cx="8813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7E34D0-0267-4867-8CDE-3740EF73908C}" type="datetime1">
              <a:rPr lang="en-US" smtClean="0"/>
              <a:t>5/23/2023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699A0D3-6412-EE4A-81E5-4F273593FA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52500" y="6485140"/>
            <a:ext cx="61566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Christopher.t.steele3.mil@mail.mil                                                                                                    CUI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9FE13D4-6E4D-474F-A9A3-90502264A3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637094" y="6485140"/>
            <a:ext cx="7712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8E9A7C1-39F9-A74C-BFF1-0AAF2D5B98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306231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646106-7AB9-654C-87EE-1AC8C894C1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A3BB46-5373-CC48-802B-038AB7BC309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524000"/>
            <a:ext cx="5181600" cy="4351338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>
                <a:solidFill>
                  <a:schemeClr val="bg1"/>
                </a:solidFill>
                <a:latin typeface="+mn-lt"/>
                <a:cs typeface="+mn-cs"/>
              </a:defRPr>
            </a:lvl5pPr>
          </a:lstStyle>
          <a:p>
            <a:pPr lvl="0">
              <a:spcAft>
                <a:spcPts val="0"/>
              </a:spcAft>
              <a:buClr>
                <a:schemeClr val="accent4"/>
              </a:buClr>
              <a:buSzPct val="85000"/>
              <a:buFont typeface=".Lucida Grande UI Regular"/>
              <a:buChar char="◆"/>
              <a:tabLst/>
            </a:pPr>
            <a:r>
              <a:rPr lang="en-US" dirty="0"/>
              <a:t>Click to edit Master text styles</a:t>
            </a:r>
          </a:p>
          <a:p>
            <a:pPr marL="625474" lvl="1">
              <a:buClr>
                <a:schemeClr val="accent4"/>
              </a:buClr>
              <a:buSzPct val="85000"/>
              <a:buFont typeface="Wingdings" pitchFamily="2" charset="2"/>
              <a:buChar char="Ø"/>
            </a:pPr>
            <a:r>
              <a:rPr lang="en-US" dirty="0"/>
              <a:t>Second level</a:t>
            </a:r>
          </a:p>
          <a:p>
            <a:pPr lvl="2">
              <a:buClr>
                <a:schemeClr val="accent4"/>
              </a:buClr>
              <a:tabLst/>
            </a:pPr>
            <a:r>
              <a:rPr lang="en-US" dirty="0"/>
              <a:t>Third level</a:t>
            </a:r>
          </a:p>
          <a:p>
            <a:pPr lvl="3">
              <a:buClr>
                <a:schemeClr val="accent4"/>
              </a:buClr>
              <a:buSzPct val="100000"/>
              <a:buFont typeface="System Font Regular"/>
              <a:buChar char="–"/>
              <a:tabLst/>
            </a:pPr>
            <a:r>
              <a:rPr lang="en-US" dirty="0"/>
              <a:t>Four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5364984-C7C0-224E-AD77-6E126774AD4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524000"/>
            <a:ext cx="5181600" cy="4351338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>
                <a:solidFill>
                  <a:schemeClr val="bg1"/>
                </a:solidFill>
                <a:latin typeface="+mn-lt"/>
                <a:cs typeface="+mn-cs"/>
              </a:defRPr>
            </a:lvl5pPr>
          </a:lstStyle>
          <a:p>
            <a:pPr lvl="0">
              <a:spcAft>
                <a:spcPts val="0"/>
              </a:spcAft>
              <a:buClr>
                <a:schemeClr val="accent4"/>
              </a:buClr>
              <a:buSzPct val="85000"/>
              <a:buFont typeface=".Lucida Grande UI Regular"/>
              <a:buChar char="◆"/>
              <a:tabLst/>
            </a:pPr>
            <a:r>
              <a:rPr lang="en-US" dirty="0"/>
              <a:t>Click to edit Master text styles</a:t>
            </a:r>
          </a:p>
          <a:p>
            <a:pPr marL="625474" lvl="1">
              <a:buClr>
                <a:schemeClr val="accent4"/>
              </a:buClr>
              <a:buSzPct val="85000"/>
              <a:buFont typeface="Wingdings" pitchFamily="2" charset="2"/>
              <a:buChar char="Ø"/>
            </a:pPr>
            <a:r>
              <a:rPr lang="en-US" dirty="0"/>
              <a:t>Second level</a:t>
            </a:r>
          </a:p>
          <a:p>
            <a:pPr lvl="2">
              <a:buClr>
                <a:schemeClr val="accent4"/>
              </a:buClr>
              <a:tabLst/>
            </a:pPr>
            <a:r>
              <a:rPr lang="en-US" dirty="0"/>
              <a:t>Third level</a:t>
            </a:r>
          </a:p>
          <a:p>
            <a:pPr lvl="3">
              <a:buClr>
                <a:schemeClr val="accent4"/>
              </a:buClr>
              <a:buSzPct val="100000"/>
              <a:buFont typeface="System Font Regular"/>
              <a:buChar char="–"/>
              <a:tabLst/>
            </a:pPr>
            <a:r>
              <a:rPr lang="en-US" dirty="0"/>
              <a:t>Fourth level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6FF51F92-C104-5D41-9019-83D51CAC64E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1120" y="6485140"/>
            <a:ext cx="7791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7E34D0-0267-4867-8CDE-3740EF73908C}" type="datetime1">
              <a:rPr lang="en-US" smtClean="0"/>
              <a:t>5/23/2023</a:t>
            </a:fld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B699A0D3-6412-EE4A-81E5-4F273593FA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52500" y="6485140"/>
            <a:ext cx="61566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Christopher.t.steele3.mil@mail.mil                                                                                                    CUI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9FE13D4-6E4D-474F-A9A3-90502264A3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637094" y="6485140"/>
            <a:ext cx="7712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8E9A7C1-39F9-A74C-BFF1-0AAF2D5B98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70893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7D958A-AA2D-C14F-A71F-4A13DE9C6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2500" y="228600"/>
            <a:ext cx="10515600" cy="91141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6213C5-9997-5D48-82DE-79EDB4C713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524000"/>
            <a:ext cx="5157787" cy="453638"/>
          </a:xfrm>
        </p:spPr>
        <p:txBody>
          <a:bodyPr anchor="b">
            <a:norm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2C4507E-02EF-9C42-80DF-F5BB1813985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073054"/>
            <a:ext cx="5157787" cy="3684588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>
                <a:solidFill>
                  <a:schemeClr val="bg1"/>
                </a:solidFill>
                <a:latin typeface="+mn-lt"/>
                <a:cs typeface="+mn-cs"/>
              </a:defRPr>
            </a:lvl5pPr>
          </a:lstStyle>
          <a:p>
            <a:pPr lvl="0">
              <a:spcAft>
                <a:spcPts val="0"/>
              </a:spcAft>
              <a:buClr>
                <a:schemeClr val="accent4"/>
              </a:buClr>
              <a:buSzPct val="85000"/>
              <a:buFont typeface=".Lucida Grande UI Regular"/>
              <a:buChar char="◆"/>
              <a:tabLst/>
            </a:pPr>
            <a:r>
              <a:rPr lang="en-US" dirty="0"/>
              <a:t>Click to edit Master text styles</a:t>
            </a:r>
          </a:p>
          <a:p>
            <a:pPr marL="625474" lvl="1">
              <a:buClr>
                <a:schemeClr val="accent4"/>
              </a:buClr>
              <a:buSzPct val="85000"/>
              <a:buFont typeface="Wingdings" pitchFamily="2" charset="2"/>
              <a:buChar char="Ø"/>
            </a:pPr>
            <a:r>
              <a:rPr lang="en-US" dirty="0"/>
              <a:t>Second level</a:t>
            </a:r>
          </a:p>
          <a:p>
            <a:pPr lvl="2">
              <a:buClr>
                <a:schemeClr val="accent4"/>
              </a:buClr>
              <a:tabLst/>
            </a:pPr>
            <a:r>
              <a:rPr lang="en-US" dirty="0"/>
              <a:t>Third level</a:t>
            </a:r>
          </a:p>
          <a:p>
            <a:pPr lvl="3">
              <a:buClr>
                <a:schemeClr val="accent4"/>
              </a:buClr>
              <a:buSzPct val="100000"/>
              <a:buFont typeface="System Font Regular"/>
              <a:buChar char="–"/>
              <a:tabLst/>
            </a:pPr>
            <a:r>
              <a:rPr lang="en-US" dirty="0"/>
              <a:t>Four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3BAA216-0133-304B-883F-F436C748F6F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524000"/>
            <a:ext cx="5183188" cy="453638"/>
          </a:xfrm>
        </p:spPr>
        <p:txBody>
          <a:bodyPr anchor="b">
            <a:norm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1D73D5E-E641-964A-9E6F-06B9B3AFAFA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073054"/>
            <a:ext cx="5183188" cy="3684588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US"/>
            </a:lvl1pPr>
            <a:lvl2pPr>
              <a:defRPr lang="en-US"/>
            </a:lvl2pPr>
            <a:lvl3pPr>
              <a:defRPr lang="en-US"/>
            </a:lvl3pPr>
            <a:lvl4pPr>
              <a:defRPr lang="en-US"/>
            </a:lvl4pPr>
            <a:lvl5pPr>
              <a:defRPr lang="en-US">
                <a:solidFill>
                  <a:schemeClr val="bg1"/>
                </a:solidFill>
                <a:latin typeface="+mn-lt"/>
                <a:cs typeface="+mn-cs"/>
              </a:defRPr>
            </a:lvl5pPr>
          </a:lstStyle>
          <a:p>
            <a:pPr lvl="0">
              <a:spcAft>
                <a:spcPts val="0"/>
              </a:spcAft>
              <a:buClr>
                <a:schemeClr val="accent4"/>
              </a:buClr>
              <a:buSzPct val="85000"/>
              <a:buFont typeface=".Lucida Grande UI Regular"/>
              <a:buChar char="◆"/>
              <a:tabLst/>
            </a:pPr>
            <a:r>
              <a:rPr lang="en-US" dirty="0"/>
              <a:t>Click to edit Master text styles</a:t>
            </a:r>
          </a:p>
          <a:p>
            <a:pPr marL="625474" lvl="1">
              <a:buClr>
                <a:schemeClr val="accent4"/>
              </a:buClr>
              <a:buSzPct val="85000"/>
              <a:buFont typeface="Wingdings" pitchFamily="2" charset="2"/>
              <a:buChar char="Ø"/>
            </a:pPr>
            <a:r>
              <a:rPr lang="en-US" dirty="0"/>
              <a:t>Second level</a:t>
            </a:r>
          </a:p>
          <a:p>
            <a:pPr lvl="2">
              <a:buClr>
                <a:schemeClr val="accent4"/>
              </a:buClr>
              <a:tabLst/>
            </a:pPr>
            <a:r>
              <a:rPr lang="en-US" dirty="0"/>
              <a:t>Third level</a:t>
            </a:r>
          </a:p>
          <a:p>
            <a:pPr lvl="3">
              <a:buClr>
                <a:schemeClr val="accent4"/>
              </a:buClr>
              <a:buSzPct val="100000"/>
              <a:buFont typeface="System Font Regular"/>
              <a:buChar char="–"/>
              <a:tabLst/>
            </a:pPr>
            <a:r>
              <a:rPr lang="en-US" dirty="0"/>
              <a:t>Four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B65F94A-6B00-E149-AEF8-E8B730DD511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1281" y="6508750"/>
            <a:ext cx="801314" cy="365125"/>
          </a:xfrm>
          <a:prstGeom prst="rect">
            <a:avLst/>
          </a:prstGeom>
        </p:spPr>
        <p:txBody>
          <a:bodyPr/>
          <a:lstStyle/>
          <a:p>
            <a:fld id="{54552339-B4E0-4609-B471-AEFEF6A5A65A}" type="datetime1">
              <a:rPr lang="en-US" smtClean="0"/>
              <a:t>5/23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60EBD0-E47E-6948-ABC8-335F4F4178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2500" y="65087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hristopher.t.steele3.mil@mail.mil                                 CUI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0F7BA53-47C8-E847-AE7A-B83E356E6E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94936" y="6508750"/>
            <a:ext cx="1219200" cy="365125"/>
          </a:xfrm>
          <a:prstGeom prst="rect">
            <a:avLst/>
          </a:prstGeom>
        </p:spPr>
        <p:txBody>
          <a:bodyPr/>
          <a:lstStyle/>
          <a:p>
            <a:fld id="{C8E9A7C1-39F9-A74C-BFF1-0AAF2D5B98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94824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6E4EAAE-78FA-274A-A50F-A68DE86BF48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3101930"/>
            <a:ext cx="7843227" cy="1702191"/>
          </a:xfrm>
        </p:spPr>
        <p:txBody>
          <a:bodyPr anchor="t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12D91-5F71-FE4F-A594-B9667DC21877}" type="slidenum">
              <a:rPr lang="en-US" smtClean="0"/>
              <a:t>‹#›</a:t>
            </a:fld>
            <a:endParaRPr lang="en-US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156CE847-A648-614F-9D37-EE8537F393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1851" y="2539222"/>
            <a:ext cx="7843227" cy="499403"/>
          </a:xfrm>
        </p:spPr>
        <p:txBody>
          <a:bodyPr anchor="b">
            <a:normAutofit/>
          </a:bodyPr>
          <a:lstStyle>
            <a:lvl1pPr marL="0" indent="0" algn="l">
              <a:buNone/>
              <a:defRPr sz="200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7414788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2D76B4-D522-3842-9D26-0A424DA465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6FF51F92-C104-5D41-9019-83D51CAC64E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1120" y="6485140"/>
            <a:ext cx="7791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7E34D0-0267-4867-8CDE-3740EF73908C}" type="datetime1">
              <a:rPr lang="en-US" smtClean="0"/>
              <a:t>5/23/2023</a:t>
            </a:fld>
            <a:endParaRPr 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B699A0D3-6412-EE4A-81E5-4F273593FA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52500" y="6485140"/>
            <a:ext cx="61566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Christopher.t.steele3.mil@mail.mil                                                                                                    CUI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9FE13D4-6E4D-474F-A9A3-90502264A3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637094" y="6485140"/>
            <a:ext cx="7712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8E9A7C1-39F9-A74C-BFF1-0AAF2D5B98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92130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597877"/>
            <a:ext cx="10515600" cy="92143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582619"/>
            <a:ext cx="5181600" cy="417107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582619"/>
            <a:ext cx="5181600" cy="417107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12D91-5F71-FE4F-A594-B9667DC218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37837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582615"/>
            <a:ext cx="5157787" cy="57677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222769"/>
            <a:ext cx="5157787" cy="343244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582615"/>
            <a:ext cx="5183188" cy="57677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222769"/>
            <a:ext cx="5183188" cy="343244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6114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D12D91-5F71-FE4F-A594-B9667DC21877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55BCD1B-3815-C342-9679-E1E92B1E76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597877"/>
            <a:ext cx="10515600" cy="9189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5488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3.jp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7.xml"/><Relationship Id="rId10" Type="http://schemas.openxmlformats.org/officeDocument/2006/relationships/image" Target="../media/image7.jpeg"/><Relationship Id="rId4" Type="http://schemas.openxmlformats.org/officeDocument/2006/relationships/slideLayout" Target="../slideLayouts/slideLayout26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33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5.xml"/><Relationship Id="rId4" Type="http://schemas.openxmlformats.org/officeDocument/2006/relationships/slideLayout" Target="../slideLayouts/slideLayout34.xml"/><Relationship Id="rId9" Type="http://schemas.openxmlformats.org/officeDocument/2006/relationships/image" Target="../media/image10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26" Type="http://schemas.openxmlformats.org/officeDocument/2006/relationships/image" Target="../media/image11.emf"/><Relationship Id="rId3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57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slideLayout" Target="../slideLayouts/slideLayout56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tags" Target="../tags/tag1.xml"/><Relationship Id="rId28" Type="http://schemas.openxmlformats.org/officeDocument/2006/relationships/image" Target="../media/image12.png"/><Relationship Id="rId10" Type="http://schemas.openxmlformats.org/officeDocument/2006/relationships/slideLayout" Target="../slideLayouts/slideLayout46.xml"/><Relationship Id="rId19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theme" Target="../theme/theme6.xml"/><Relationship Id="rId27" Type="http://schemas.openxmlformats.org/officeDocument/2006/relationships/image" Target="../media/image10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oleObject" Target="../embeddings/oleObject3.bin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59.xml"/><Relationship Id="rId16" Type="http://schemas.openxmlformats.org/officeDocument/2006/relationships/image" Target="../media/image16.png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62.xml"/><Relationship Id="rId15" Type="http://schemas.openxmlformats.org/officeDocument/2006/relationships/image" Target="../media/image15.png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image" Target="../media/image11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69.xml"/><Relationship Id="rId7" Type="http://schemas.openxmlformats.org/officeDocument/2006/relationships/image" Target="../media/image18.jpg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image" Target="../media/image17.jpg"/><Relationship Id="rId5" Type="http://schemas.openxmlformats.org/officeDocument/2006/relationships/theme" Target="../theme/theme8.xml"/><Relationship Id="rId4" Type="http://schemas.openxmlformats.org/officeDocument/2006/relationships/slideLayout" Target="../slideLayouts/slideLayout70.xml"/><Relationship Id="rId9" Type="http://schemas.openxmlformats.org/officeDocument/2006/relationships/image" Target="../media/image20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015887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72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3AFE559-773A-DD4B-893C-35F58E2AA790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633047"/>
            <a:ext cx="10515600" cy="76668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63041"/>
            <a:ext cx="10515600" cy="40655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341966"/>
            <a:ext cx="1371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 b="1">
                <a:solidFill>
                  <a:srgbClr val="00467F"/>
                </a:solidFill>
              </a:defRPr>
            </a:lvl1pPr>
          </a:lstStyle>
          <a:p>
            <a:fld id="{ACD12D91-5F71-FE4F-A594-B9667DC2187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8603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500" b="1" kern="1200">
          <a:solidFill>
            <a:srgbClr val="00467F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0194D3"/>
        </a:buClr>
        <a:buFont typeface="Arial" panose="020B0604020202020204" pitchFamily="34" charset="0"/>
        <a:buChar char="•"/>
        <a:defRPr sz="20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194D3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194D3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194D3"/>
        </a:buClr>
        <a:buFont typeface="Arial" panose="020B0604020202020204" pitchFamily="34" charset="0"/>
        <a:buChar char="•"/>
        <a:defRPr sz="1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194D3"/>
        </a:buClr>
        <a:buFont typeface="Arial" panose="020B0604020202020204" pitchFamily="34" charset="0"/>
        <a:buChar char="•"/>
        <a:defRPr sz="12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CEEBE12-DD49-4C08-A346-0A98657EAE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3C86CB-018B-49A9-88A2-844A21CDC7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955D57-A44D-4168-9DFB-956EA0B2B4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9DD4FA-0785-470B-AB23-5F35B31EED92}" type="datetimeFigureOut">
              <a:rPr lang="en-US" smtClean="0"/>
              <a:t>5/2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B1793E-A6A9-4624-B7DE-D4859C0353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54FE56-DF55-4142-9C4A-24143E8680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12B1B8-2A92-4F73-A0E0-903B11BFF3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71960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0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83858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9" r:id="rId8"/>
  </p:sldLayoutIdLst>
  <p:hf sldNum="0"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140677"/>
            <a:ext cx="12192000" cy="73183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92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7965" y="6271406"/>
            <a:ext cx="2946400" cy="49198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9250440" y="640023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0" y="6172200"/>
            <a:ext cx="2716744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919944" y="6356442"/>
            <a:ext cx="5468021" cy="365125"/>
          </a:xfrm>
          <a:prstGeom prst="rect">
            <a:avLst/>
          </a:prstGeom>
        </p:spPr>
        <p:txBody>
          <a:bodyPr lIns="91440" tIns="45720" rIns="91440" bIns="45720"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Draft - Pre-Decisional Deliberative Document </a:t>
            </a:r>
          </a:p>
          <a:p>
            <a:pPr defTabSz="457200"/>
            <a:r>
              <a:rPr lang="it-IT"/>
              <a:t>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1341409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1" r:id="rId1"/>
    <p:sldLayoutId id="2147483832" r:id="rId2"/>
    <p:sldLayoutId id="2147483833" r:id="rId3"/>
    <p:sldLayoutId id="2147483834" r:id="rId4"/>
    <p:sldLayoutId id="2147483835" r:id="rId5"/>
    <p:sldLayoutId id="2147483836" r:id="rId6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BCCC815A-F2C9-434C-A69F-6B52C370B9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562313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395" imgH="396" progId="TCLayout.ActiveDocument.1">
                  <p:embed/>
                </p:oleObj>
              </mc:Choice>
              <mc:Fallback>
                <p:oleObj name="think-cell Slide" r:id="rId25" imgW="395" imgH="39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BCCC815A-F2C9-434C-A69F-6B52C370B9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7E99BCBC-83A5-40D0-8DE3-4DB102CDECA1}"/>
              </a:ext>
            </a:extLst>
          </p:cNvPr>
          <p:cNvSpPr/>
          <p:nvPr userDrawn="1">
            <p:custDataLst>
              <p:tags r:id="rId2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1475" y="1361621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5/2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0A9334-4E67-F94F-A05E-0CE8B74A054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6" descr="&quot;&quot;">
            <a:extLst>
              <a:ext uri="{FF2B5EF4-FFF2-40B4-BE49-F238E27FC236}">
                <a16:creationId xmlns:a16="http://schemas.microsoft.com/office/drawing/2014/main" id="{9A344643-0805-4A78-8519-399E280674A5}"/>
              </a:ext>
            </a:extLst>
          </p:cNvPr>
          <p:cNvSpPr/>
          <p:nvPr userDrawn="1"/>
        </p:nvSpPr>
        <p:spPr>
          <a:xfrm>
            <a:off x="0" y="0"/>
            <a:ext cx="12192000" cy="872671"/>
          </a:xfrm>
          <a:prstGeom prst="rect">
            <a:avLst/>
          </a:prstGeom>
          <a:solidFill>
            <a:srgbClr val="002F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51C4A79-7B67-4263-9C21-0F0F093D2ECB}"/>
              </a:ext>
            </a:extLst>
          </p:cNvPr>
          <p:cNvSpPr/>
          <p:nvPr userDrawn="1"/>
        </p:nvSpPr>
        <p:spPr>
          <a:xfrm>
            <a:off x="0" y="6140681"/>
            <a:ext cx="12192000" cy="731839"/>
          </a:xfrm>
          <a:prstGeom prst="rect">
            <a:avLst/>
          </a:prstGeom>
          <a:solidFill>
            <a:srgbClr val="002F5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9" name="Picture 2" descr="Choose VA logo">
            <a:extLst>
              <a:ext uri="{FF2B5EF4-FFF2-40B4-BE49-F238E27FC236}">
                <a16:creationId xmlns:a16="http://schemas.microsoft.com/office/drawing/2014/main" id="{ED68DA6A-5DF1-4139-9A45-26BF50A0D2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3201" y="6191250"/>
            <a:ext cx="2368550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Seal and logo for the U.S. Department of Veterans Affairs">
            <a:extLst>
              <a:ext uri="{FF2B5EF4-FFF2-40B4-BE49-F238E27FC236}">
                <a16:creationId xmlns:a16="http://schemas.microsoft.com/office/drawing/2014/main" id="{89C54729-2C98-4A73-B5EB-4446016F3463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43950" y="6184206"/>
            <a:ext cx="2940051" cy="641708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90525" y="97245"/>
            <a:ext cx="10515600" cy="68022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38398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39" r:id="rId2"/>
    <p:sldLayoutId id="2147483840" r:id="rId3"/>
    <p:sldLayoutId id="2147483841" r:id="rId4"/>
    <p:sldLayoutId id="2147483842" r:id="rId5"/>
    <p:sldLayoutId id="2147483843" r:id="rId6"/>
    <p:sldLayoutId id="2147483844" r:id="rId7"/>
    <p:sldLayoutId id="2147483845" r:id="rId8"/>
    <p:sldLayoutId id="2147483846" r:id="rId9"/>
    <p:sldLayoutId id="2147483847" r:id="rId10"/>
    <p:sldLayoutId id="2147483848" r:id="rId11"/>
    <p:sldLayoutId id="2147483849" r:id="rId12"/>
    <p:sldLayoutId id="2147483850" r:id="rId13"/>
    <p:sldLayoutId id="2147483851" r:id="rId14"/>
    <p:sldLayoutId id="2147483852" r:id="rId15"/>
    <p:sldLayoutId id="2147483853" r:id="rId16"/>
    <p:sldLayoutId id="2147483854" r:id="rId17"/>
    <p:sldLayoutId id="2147483855" r:id="rId18"/>
    <p:sldLayoutId id="2147483856" r:id="rId19"/>
    <p:sldLayoutId id="2147483857" r:id="rId20"/>
    <p:sldLayoutId id="2147483858" r:id="rId2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BCCC815A-F2C9-434C-A69F-6B52C370B9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994697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95" imgH="396" progId="TCLayout.ActiveDocument.1">
                  <p:embed/>
                </p:oleObj>
              </mc:Choice>
              <mc:Fallback>
                <p:oleObj name="think-cell Slide" r:id="rId13" imgW="395" imgH="39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BCCC815A-F2C9-434C-A69F-6B52C370B9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7E99BCBC-83A5-40D0-8DE3-4DB102CDECA1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1475" y="1361621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5/2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0A9334-4E67-F94F-A05E-0CE8B74A054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6" descr="&quot;&quot;">
            <a:extLst>
              <a:ext uri="{FF2B5EF4-FFF2-40B4-BE49-F238E27FC236}">
                <a16:creationId xmlns:a16="http://schemas.microsoft.com/office/drawing/2014/main" id="{9A344643-0805-4A78-8519-399E280674A5}"/>
              </a:ext>
            </a:extLst>
          </p:cNvPr>
          <p:cNvSpPr/>
          <p:nvPr userDrawn="1"/>
        </p:nvSpPr>
        <p:spPr>
          <a:xfrm>
            <a:off x="0" y="0"/>
            <a:ext cx="12192000" cy="872671"/>
          </a:xfrm>
          <a:prstGeom prst="rect">
            <a:avLst/>
          </a:prstGeom>
          <a:solidFill>
            <a:srgbClr val="002F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51C4A79-7B67-4263-9C21-0F0F093D2ECB}"/>
              </a:ext>
            </a:extLst>
          </p:cNvPr>
          <p:cNvSpPr/>
          <p:nvPr userDrawn="1"/>
        </p:nvSpPr>
        <p:spPr>
          <a:xfrm>
            <a:off x="0" y="6140681"/>
            <a:ext cx="12192000" cy="731839"/>
          </a:xfrm>
          <a:prstGeom prst="rect">
            <a:avLst/>
          </a:prstGeom>
          <a:solidFill>
            <a:srgbClr val="002F5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9" name="Picture 2" descr="Choose VA logo">
            <a:extLst>
              <a:ext uri="{FF2B5EF4-FFF2-40B4-BE49-F238E27FC236}">
                <a16:creationId xmlns:a16="http://schemas.microsoft.com/office/drawing/2014/main" id="{ED68DA6A-5DF1-4139-9A45-26BF50A0D2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3201" y="6191250"/>
            <a:ext cx="2368550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Seal and logo for the U.S. Department of Veterans Affairs">
            <a:extLst>
              <a:ext uri="{FF2B5EF4-FFF2-40B4-BE49-F238E27FC236}">
                <a16:creationId xmlns:a16="http://schemas.microsoft.com/office/drawing/2014/main" id="{89C54729-2C98-4A73-B5EB-4446016F3463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43950" y="6184206"/>
            <a:ext cx="2940051" cy="641708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90525" y="97245"/>
            <a:ext cx="10515600" cy="68022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051706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  <p:sldLayoutId id="2147483862" r:id="rId3"/>
    <p:sldLayoutId id="2147483863" r:id="rId4"/>
    <p:sldLayoutId id="2147483864" r:id="rId5"/>
    <p:sldLayoutId id="2147483865" r:id="rId6"/>
    <p:sldLayoutId id="2147483866" r:id="rId7"/>
    <p:sldLayoutId id="2147483867" r:id="rId8"/>
    <p:sldLayoutId id="2147483868" r:id="rId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C58111C9-D7D5-F141-AF0A-40BBFCFF121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9053"/>
            <a:ext cx="12197406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E649C21-2FB8-6C43-9A83-2240B82F411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12192000" cy="1371600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351BF4A-44E3-C245-A789-6510F4566A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2500" y="228600"/>
            <a:ext cx="10515600" cy="91141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96B67B-633E-9A42-AC03-07E1947E401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4924" y="1524000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>
              <a:spcAft>
                <a:spcPts val="0"/>
              </a:spcAft>
              <a:buClr>
                <a:schemeClr val="accent4"/>
              </a:buClr>
              <a:buSzPct val="85000"/>
              <a:buFont typeface=".Lucida Grande UI Regular"/>
              <a:buChar char="◆"/>
              <a:tabLst/>
            </a:pPr>
            <a:r>
              <a:rPr lang="en-US" dirty="0"/>
              <a:t>Click to edit Master text styles</a:t>
            </a:r>
          </a:p>
          <a:p>
            <a:pPr marL="625474" lvl="1">
              <a:buClr>
                <a:schemeClr val="accent4"/>
              </a:buClr>
              <a:buSzPct val="85000"/>
              <a:buFont typeface="Wingdings" pitchFamily="2" charset="2"/>
              <a:buChar char="Ø"/>
            </a:pPr>
            <a:r>
              <a:rPr lang="en-US" dirty="0"/>
              <a:t>Second level</a:t>
            </a:r>
          </a:p>
          <a:p>
            <a:pPr lvl="2">
              <a:buClr>
                <a:schemeClr val="accent4"/>
              </a:buClr>
              <a:tabLst/>
            </a:pPr>
            <a:r>
              <a:rPr lang="en-US" dirty="0"/>
              <a:t>Third level</a:t>
            </a:r>
          </a:p>
          <a:p>
            <a:pPr lvl="3">
              <a:buClr>
                <a:schemeClr val="accent4"/>
              </a:buClr>
              <a:buSzPct val="100000"/>
              <a:buFont typeface="System Font Regular"/>
              <a:buChar char="–"/>
              <a:tabLst/>
            </a:pPr>
            <a:r>
              <a:rPr lang="en-US" dirty="0"/>
              <a:t>Fourth level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FD7D270-7D71-2448-BDD8-0EC8DC6D120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519908" y="6225101"/>
            <a:ext cx="1655064" cy="61714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37FE728-FC0A-494D-9D6D-307DB381A2D7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81356" y="108604"/>
            <a:ext cx="668876" cy="1146645"/>
          </a:xfrm>
          <a:prstGeom prst="rect">
            <a:avLst/>
          </a:prstGeom>
        </p:spPr>
      </p:pic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B699A0D3-6412-EE4A-81E5-4F273593FA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52500" y="6485140"/>
            <a:ext cx="61566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Christopher.t.steele3.mil@mail.mil                                                                                                    CUI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79FE13D4-6E4D-474F-A9A3-90502264A3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637094" y="6485140"/>
            <a:ext cx="7712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8E9A7C1-39F9-A74C-BFF1-0AAF2D5B98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972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5" r:id="rId1"/>
    <p:sldLayoutId id="2147483876" r:id="rId2"/>
    <p:sldLayoutId id="2147483877" r:id="rId3"/>
    <p:sldLayoutId id="2147483878" r:id="rId4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3200" b="1" kern="1200" dirty="0">
          <a:solidFill>
            <a:schemeClr val="accent4"/>
          </a:solidFill>
          <a:latin typeface="Arial Narrow" panose="020B0604020202020204" pitchFamily="34" charset="0"/>
          <a:ea typeface="+mj-ea"/>
          <a:cs typeface="Arial Narrow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400"/>
        </a:spcBef>
        <a:buClr>
          <a:schemeClr val="accent6">
            <a:lumMod val="50000"/>
          </a:schemeClr>
        </a:buClr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Char char="•"/>
        <a:defRPr lang="en-US" sz="1800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Char char="•"/>
        <a:defRPr lang="en-US" sz="1400" kern="1200" dirty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>
          <p15:clr>
            <a:srgbClr val="F26B43"/>
          </p15:clr>
        </p15:guide>
        <p15:guide id="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5" Type="http://schemas.openxmlformats.org/officeDocument/2006/relationships/chart" Target="../charts/chart10.xml"/><Relationship Id="rId4" Type="http://schemas.openxmlformats.org/officeDocument/2006/relationships/chart" Target="../charts/chart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hsrd.research.va.gov/centers/core/sprint/API_SPRINT.html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va.dimensions.ai/discover/publication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reporter.nih.gov/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7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3D296D-09D7-4ED7-9131-0FD81D771F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99303" y="590764"/>
            <a:ext cx="10124233" cy="1870007"/>
          </a:xfrm>
        </p:spPr>
        <p:txBody>
          <a:bodyPr>
            <a:noAutofit/>
          </a:bodyPr>
          <a:lstStyle/>
          <a:p>
            <a:r>
              <a:rPr lang="en-US" sz="3200" b="1" dirty="0"/>
              <a:t>Suicide Prevention Research Impact NeTwork</a:t>
            </a:r>
            <a:br>
              <a:rPr lang="en-US" sz="3200" b="1" dirty="0"/>
            </a:br>
            <a:br>
              <a:rPr lang="en-US" sz="3200" b="1" dirty="0"/>
            </a:br>
            <a:r>
              <a:rPr lang="en-US" sz="3200" b="1" dirty="0"/>
              <a:t>Review of Active Project Inventory (API)</a:t>
            </a:r>
            <a:endParaRPr lang="en-US" sz="32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C2D44C-6DF8-4991-AA43-34ECE0F9FBB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17977" y="3888711"/>
            <a:ext cx="9014157" cy="1695236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sz="3200" b="1" dirty="0"/>
              <a:t>May 23, 2022</a:t>
            </a:r>
            <a:endParaRPr lang="en-US" sz="2800" dirty="0"/>
          </a:p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5ADC69B-24AC-45A0-9E09-FDAC1F0AE312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8686" y="3338940"/>
            <a:ext cx="3647552" cy="3354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13488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1E73D1-7870-41B1-9E8A-C5C74A230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657" y="842059"/>
            <a:ext cx="11403066" cy="609500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002060"/>
                </a:solidFill>
                <a:latin typeface="+mn-lt"/>
              </a:rPr>
              <a:t>      Socio-Ecological Model</a:t>
            </a:r>
          </a:p>
        </p:txBody>
      </p:sp>
      <p:graphicFrame>
        <p:nvGraphicFramePr>
          <p:cNvPr id="3" name="Content Placeholder 4">
            <a:extLst>
              <a:ext uri="{FF2B5EF4-FFF2-40B4-BE49-F238E27FC236}">
                <a16:creationId xmlns:a16="http://schemas.microsoft.com/office/drawing/2014/main" id="{87FB8F51-A76C-E3DE-C6D3-A3572E727FC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61115227"/>
              </p:ext>
            </p:extLst>
          </p:nvPr>
        </p:nvGraphicFramePr>
        <p:xfrm>
          <a:off x="494410" y="2074621"/>
          <a:ext cx="3394840" cy="2630795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1999333">
                  <a:extLst>
                    <a:ext uri="{9D8B030D-6E8A-4147-A177-3AD203B41FA5}">
                      <a16:colId xmlns:a16="http://schemas.microsoft.com/office/drawing/2014/main" val="3102329559"/>
                    </a:ext>
                  </a:extLst>
                </a:gridCol>
                <a:gridCol w="751427">
                  <a:extLst>
                    <a:ext uri="{9D8B030D-6E8A-4147-A177-3AD203B41FA5}">
                      <a16:colId xmlns:a16="http://schemas.microsoft.com/office/drawing/2014/main" val="2212577329"/>
                    </a:ext>
                  </a:extLst>
                </a:gridCol>
                <a:gridCol w="644080">
                  <a:extLst>
                    <a:ext uri="{9D8B030D-6E8A-4147-A177-3AD203B41FA5}">
                      <a16:colId xmlns:a16="http://schemas.microsoft.com/office/drawing/2014/main" val="2205434929"/>
                    </a:ext>
                  </a:extLst>
                </a:gridCol>
              </a:tblGrid>
              <a:tr h="651787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Number of Studies by Socio-Ecological Level FY2021</a:t>
                      </a:r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solidFill>
                      <a:srgbClr val="4472C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660240"/>
                  </a:ext>
                </a:extLst>
              </a:tr>
              <a:tr h="413142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Community/Society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n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%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883726"/>
                  </a:ext>
                </a:extLst>
              </a:tr>
              <a:tr h="413142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Individual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76981492"/>
                  </a:ext>
                </a:extLst>
              </a:tr>
              <a:tr h="413142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Community/Society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18904755"/>
                  </a:ext>
                </a:extLst>
              </a:tr>
              <a:tr h="413142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Relationship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96081743"/>
                  </a:ext>
                </a:extLst>
              </a:tr>
              <a:tr h="32644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Grand Tota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2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34651991"/>
                  </a:ext>
                </a:extLst>
              </a:tr>
            </a:tbl>
          </a:graphicData>
        </a:graphic>
      </p:graphicFrame>
      <p:graphicFrame>
        <p:nvGraphicFramePr>
          <p:cNvPr id="6" name="Content Placeholder 4">
            <a:extLst>
              <a:ext uri="{FF2B5EF4-FFF2-40B4-BE49-F238E27FC236}">
                <a16:creationId xmlns:a16="http://schemas.microsoft.com/office/drawing/2014/main" id="{A6A608B5-BF37-0143-95C9-6A464985D44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18982040"/>
              </p:ext>
            </p:extLst>
          </p:nvPr>
        </p:nvGraphicFramePr>
        <p:xfrm>
          <a:off x="8285883" y="2074620"/>
          <a:ext cx="3394840" cy="2630796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1999333">
                  <a:extLst>
                    <a:ext uri="{9D8B030D-6E8A-4147-A177-3AD203B41FA5}">
                      <a16:colId xmlns:a16="http://schemas.microsoft.com/office/drawing/2014/main" val="3102329559"/>
                    </a:ext>
                  </a:extLst>
                </a:gridCol>
                <a:gridCol w="751427">
                  <a:extLst>
                    <a:ext uri="{9D8B030D-6E8A-4147-A177-3AD203B41FA5}">
                      <a16:colId xmlns:a16="http://schemas.microsoft.com/office/drawing/2014/main" val="2212577329"/>
                    </a:ext>
                  </a:extLst>
                </a:gridCol>
                <a:gridCol w="644080">
                  <a:extLst>
                    <a:ext uri="{9D8B030D-6E8A-4147-A177-3AD203B41FA5}">
                      <a16:colId xmlns:a16="http://schemas.microsoft.com/office/drawing/2014/main" val="2205434929"/>
                    </a:ext>
                  </a:extLst>
                </a:gridCol>
              </a:tblGrid>
              <a:tr h="547722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Number of Studies by Socio-Ecological Level FY2023</a:t>
                      </a:r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solidFill>
                      <a:srgbClr val="4472C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660240"/>
                  </a:ext>
                </a:extLst>
              </a:tr>
              <a:tr h="34717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Community/Society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n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%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883726"/>
                  </a:ext>
                </a:extLst>
              </a:tr>
              <a:tr h="34717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dividua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2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76981492"/>
                  </a:ext>
                </a:extLst>
              </a:tr>
              <a:tr h="34717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mmunity/Societ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18904755"/>
                  </a:ext>
                </a:extLst>
              </a:tr>
              <a:tr h="34717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lationship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96081743"/>
                  </a:ext>
                </a:extLst>
              </a:tr>
              <a:tr h="34717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R 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85541461"/>
                  </a:ext>
                </a:extLst>
              </a:tr>
              <a:tr h="34717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rand Tota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34651991"/>
                  </a:ext>
                </a:extLst>
              </a:tr>
            </a:tbl>
          </a:graphicData>
        </a:graphic>
      </p:graphicFrame>
      <p:graphicFrame>
        <p:nvGraphicFramePr>
          <p:cNvPr id="8" name="Content Placeholder 4">
            <a:extLst>
              <a:ext uri="{FF2B5EF4-FFF2-40B4-BE49-F238E27FC236}">
                <a16:creationId xmlns:a16="http://schemas.microsoft.com/office/drawing/2014/main" id="{A365F281-9178-28EE-6309-80F4B20F4A7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24678055"/>
              </p:ext>
            </p:extLst>
          </p:nvPr>
        </p:nvGraphicFramePr>
        <p:xfrm>
          <a:off x="4398580" y="2074621"/>
          <a:ext cx="3394840" cy="2630796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1999333">
                  <a:extLst>
                    <a:ext uri="{9D8B030D-6E8A-4147-A177-3AD203B41FA5}">
                      <a16:colId xmlns:a16="http://schemas.microsoft.com/office/drawing/2014/main" val="3102329559"/>
                    </a:ext>
                  </a:extLst>
                </a:gridCol>
                <a:gridCol w="751427">
                  <a:extLst>
                    <a:ext uri="{9D8B030D-6E8A-4147-A177-3AD203B41FA5}">
                      <a16:colId xmlns:a16="http://schemas.microsoft.com/office/drawing/2014/main" val="2212577329"/>
                    </a:ext>
                  </a:extLst>
                </a:gridCol>
                <a:gridCol w="644080">
                  <a:extLst>
                    <a:ext uri="{9D8B030D-6E8A-4147-A177-3AD203B41FA5}">
                      <a16:colId xmlns:a16="http://schemas.microsoft.com/office/drawing/2014/main" val="2205434929"/>
                    </a:ext>
                  </a:extLst>
                </a:gridCol>
              </a:tblGrid>
              <a:tr h="547722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Number of Studies by Socio-Ecological Level FY2022</a:t>
                      </a:r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solidFill>
                      <a:srgbClr val="4472C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660240"/>
                  </a:ext>
                </a:extLst>
              </a:tr>
              <a:tr h="34717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Community/Society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n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%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883726"/>
                  </a:ext>
                </a:extLst>
              </a:tr>
              <a:tr h="347179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  Individual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92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  73%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76981492"/>
                  </a:ext>
                </a:extLst>
              </a:tr>
              <a:tr h="347179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  Community/Society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20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6%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18904755"/>
                  </a:ext>
                </a:extLst>
              </a:tr>
              <a:tr h="347179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  Relationship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0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  8%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96081743"/>
                  </a:ext>
                </a:extLst>
              </a:tr>
              <a:tr h="347179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  NR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4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  3%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85541461"/>
                  </a:ext>
                </a:extLst>
              </a:tr>
              <a:tr h="347179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  Total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26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  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346519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848456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1DBB7B-158F-D743-FDF3-197ADDD345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00407"/>
            <a:ext cx="10515600" cy="905684"/>
          </a:xfrm>
        </p:spPr>
        <p:txBody>
          <a:bodyPr/>
          <a:lstStyle/>
          <a:p>
            <a:pPr algn="ctr"/>
            <a:r>
              <a:rPr lang="en-US" dirty="0"/>
              <a:t>Socio-Ecological Model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20825B39-F382-D12D-D0F8-D56132D682D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3655441"/>
              </p:ext>
            </p:extLst>
          </p:nvPr>
        </p:nvGraphicFramePr>
        <p:xfrm>
          <a:off x="8008883" y="1881178"/>
          <a:ext cx="4126799" cy="43094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77AC17F8-213C-2644-634D-1774CC1DCA0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2620184"/>
              </p:ext>
            </p:extLst>
          </p:nvPr>
        </p:nvGraphicFramePr>
        <p:xfrm>
          <a:off x="1996966" y="2375217"/>
          <a:ext cx="2781683" cy="33213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9C760F80-7E33-FB17-D008-19EE177A70A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57077576"/>
              </p:ext>
            </p:extLst>
          </p:nvPr>
        </p:nvGraphicFramePr>
        <p:xfrm>
          <a:off x="4443599" y="2223189"/>
          <a:ext cx="4382464" cy="35622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C253B3F9-CDDD-9E1A-AAE1-B63291E786CD}"/>
              </a:ext>
            </a:extLst>
          </p:cNvPr>
          <p:cNvSpPr txBox="1"/>
          <p:nvPr/>
        </p:nvSpPr>
        <p:spPr>
          <a:xfrm>
            <a:off x="2902851" y="2026785"/>
            <a:ext cx="9249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Y202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75E2224-BBE0-1C03-793B-190EE372913E}"/>
              </a:ext>
            </a:extLst>
          </p:cNvPr>
          <p:cNvSpPr txBox="1"/>
          <p:nvPr/>
        </p:nvSpPr>
        <p:spPr>
          <a:xfrm>
            <a:off x="6211667" y="2005885"/>
            <a:ext cx="9249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Y2022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B73B0C6-DF17-99E0-B005-A4AE422E68CB}"/>
              </a:ext>
            </a:extLst>
          </p:cNvPr>
          <p:cNvSpPr txBox="1"/>
          <p:nvPr/>
        </p:nvSpPr>
        <p:spPr>
          <a:xfrm>
            <a:off x="9904356" y="2005886"/>
            <a:ext cx="9249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Y2023</a:t>
            </a:r>
          </a:p>
        </p:txBody>
      </p:sp>
      <p:pic>
        <p:nvPicPr>
          <p:cNvPr id="13" name="Picture 12" descr="A screenshot of a phone&#10;&#10;Description automatically generated with medium confidence">
            <a:extLst>
              <a:ext uri="{FF2B5EF4-FFF2-40B4-BE49-F238E27FC236}">
                <a16:creationId xmlns:a16="http://schemas.microsoft.com/office/drawing/2014/main" id="{70D54222-6DF9-CA75-B2BC-C77B9E3A76D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204" y="2581768"/>
            <a:ext cx="1665169" cy="2845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235915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797E11-A7CF-423E-B562-5C239F1257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Project Key Words FY22-FY23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5D67628-AF79-4485-9AC1-5D4394F2199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17229006"/>
              </p:ext>
            </p:extLst>
          </p:nvPr>
        </p:nvGraphicFramePr>
        <p:xfrm>
          <a:off x="437881" y="1442432"/>
          <a:ext cx="5550794" cy="5126527"/>
        </p:xfrm>
        <a:graphic>
          <a:graphicData uri="http://schemas.openxmlformats.org/drawingml/2006/table">
            <a:tbl>
              <a:tblPr/>
              <a:tblGrid>
                <a:gridCol w="3207126">
                  <a:extLst>
                    <a:ext uri="{9D8B030D-6E8A-4147-A177-3AD203B41FA5}">
                      <a16:colId xmlns:a16="http://schemas.microsoft.com/office/drawing/2014/main" val="2539193039"/>
                    </a:ext>
                  </a:extLst>
                </a:gridCol>
                <a:gridCol w="1171834">
                  <a:extLst>
                    <a:ext uri="{9D8B030D-6E8A-4147-A177-3AD203B41FA5}">
                      <a16:colId xmlns:a16="http://schemas.microsoft.com/office/drawing/2014/main" val="2665776387"/>
                    </a:ext>
                  </a:extLst>
                </a:gridCol>
                <a:gridCol w="1171834">
                  <a:extLst>
                    <a:ext uri="{9D8B030D-6E8A-4147-A177-3AD203B41FA5}">
                      <a16:colId xmlns:a16="http://schemas.microsoft.com/office/drawing/2014/main" val="1643580674"/>
                    </a:ext>
                  </a:extLst>
                </a:gridCol>
              </a:tblGrid>
              <a:tr h="38201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5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Key word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5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FY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5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FY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2860943"/>
                  </a:ext>
                </a:extLst>
              </a:tr>
              <a:tr h="30284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Risk assessment/stratification/screening</a:t>
                      </a:r>
                      <a:endParaRPr lang="en-US" sz="1200" b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38 (30%)</a:t>
                      </a:r>
                      <a:endParaRPr lang="en-US" sz="1200" b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26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7299753"/>
                  </a:ext>
                </a:extLst>
              </a:tr>
              <a:tr h="30284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Predictive modeling</a:t>
                      </a:r>
                      <a:endParaRPr lang="en-US" sz="1200" b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21 (17%)</a:t>
                      </a:r>
                      <a:endParaRPr lang="en-US" sz="1200" b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(12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5737267"/>
                  </a:ext>
                </a:extLst>
              </a:tr>
              <a:tr h="30284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Psychotherapy intervention</a:t>
                      </a:r>
                      <a:endParaRPr lang="en-US" sz="1200" b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21 (17%)</a:t>
                      </a:r>
                      <a:endParaRPr lang="en-US" sz="1200" b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8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3538871"/>
                  </a:ext>
                </a:extLst>
              </a:tr>
              <a:tr h="30284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Mental health diagnosis</a:t>
                      </a:r>
                      <a:endParaRPr lang="en-US" sz="1200" b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20 (16%)</a:t>
                      </a:r>
                      <a:endParaRPr lang="en-US" sz="1200" b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8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1258843"/>
                  </a:ext>
                </a:extLst>
              </a:tr>
              <a:tr h="30284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Qualitative methods</a:t>
                      </a:r>
                      <a:endParaRPr lang="en-US" sz="1200" b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20 (16%)</a:t>
                      </a:r>
                      <a:endParaRPr lang="en-US" sz="1200" b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16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3373364"/>
                  </a:ext>
                </a:extLst>
              </a:tr>
              <a:tr h="30284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Social determinants of health</a:t>
                      </a:r>
                      <a:endParaRPr lang="en-US" sz="1200" b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9 (15%)</a:t>
                      </a:r>
                      <a:endParaRPr lang="en-US" sz="1200" b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3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3556111"/>
                  </a:ext>
                </a:extLst>
              </a:tr>
              <a:tr h="30284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Biological or Behavioral risk marker </a:t>
                      </a:r>
                      <a:endParaRPr lang="en-US" sz="1200" b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8 (14%)</a:t>
                      </a:r>
                      <a:endParaRPr lang="en-US" sz="1200" b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8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4233694"/>
                  </a:ext>
                </a:extLst>
              </a:tr>
              <a:tr h="30284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Brief interventions</a:t>
                      </a:r>
                      <a:endParaRPr lang="en-US" sz="1200" b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7 (13%)</a:t>
                      </a:r>
                      <a:endParaRPr lang="en-US" sz="1200" b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(20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70668958"/>
                  </a:ext>
                </a:extLst>
              </a:tr>
              <a:tr h="30284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Lethal means safety</a:t>
                      </a:r>
                      <a:endParaRPr lang="en-US" sz="1200" b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6 (13%)</a:t>
                      </a:r>
                      <a:endParaRPr lang="en-US" sz="1200" b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9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095852"/>
                  </a:ext>
                </a:extLst>
              </a:tr>
              <a:tr h="30284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Non-clinical interventions (e.g. community-level)</a:t>
                      </a:r>
                      <a:endParaRPr lang="en-US" sz="1200" b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2 (10%)</a:t>
                      </a:r>
                      <a:endParaRPr lang="en-US" sz="1200" b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5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40351402"/>
                  </a:ext>
                </a:extLst>
              </a:tr>
              <a:tr h="30284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Crisis Intervention</a:t>
                      </a:r>
                      <a:endParaRPr lang="en-US" sz="1200" b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 (8%)</a:t>
                      </a:r>
                      <a:endParaRPr lang="en-US" sz="1200" b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7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8063658"/>
                  </a:ext>
                </a:extLst>
              </a:tr>
              <a:tr h="30284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Natural language processing</a:t>
                      </a:r>
                      <a:endParaRPr lang="en-US" sz="1200" b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 (7%)</a:t>
                      </a:r>
                      <a:endParaRPr lang="en-US" sz="1200" b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5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8276639"/>
                  </a:ext>
                </a:extLst>
              </a:tr>
              <a:tr h="30284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Safety Planning</a:t>
                      </a:r>
                      <a:endParaRPr lang="en-US" sz="1200" b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 (7%)</a:t>
                      </a:r>
                      <a:endParaRPr lang="en-US" sz="1200" b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9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6591448"/>
                  </a:ext>
                </a:extLst>
              </a:tr>
              <a:tr h="50473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mHealth (mobile/web application development/testing)</a:t>
                      </a:r>
                      <a:endParaRPr lang="en-US" sz="1200" b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8 (6%)</a:t>
                      </a:r>
                      <a:endParaRPr lang="en-US" sz="1200" b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7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7210383"/>
                  </a:ext>
                </a:extLst>
              </a:tr>
              <a:tr h="30284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Peers assisting with intervention</a:t>
                      </a:r>
                      <a:endParaRPr lang="en-US" sz="1200" b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8 (6%)</a:t>
                      </a:r>
                      <a:endParaRPr lang="en-US" sz="1200" b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7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9565566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E18E0FD7-1470-4E80-B307-20C3B5AF9A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6247752"/>
              </p:ext>
            </p:extLst>
          </p:nvPr>
        </p:nvGraphicFramePr>
        <p:xfrm>
          <a:off x="6203327" y="1442434"/>
          <a:ext cx="5550793" cy="5126529"/>
        </p:xfrm>
        <a:graphic>
          <a:graphicData uri="http://schemas.openxmlformats.org/drawingml/2006/table">
            <a:tbl>
              <a:tblPr bandRow="1"/>
              <a:tblGrid>
                <a:gridCol w="3220343">
                  <a:extLst>
                    <a:ext uri="{9D8B030D-6E8A-4147-A177-3AD203B41FA5}">
                      <a16:colId xmlns:a16="http://schemas.microsoft.com/office/drawing/2014/main" val="2724066133"/>
                    </a:ext>
                  </a:extLst>
                </a:gridCol>
                <a:gridCol w="1165225">
                  <a:extLst>
                    <a:ext uri="{9D8B030D-6E8A-4147-A177-3AD203B41FA5}">
                      <a16:colId xmlns:a16="http://schemas.microsoft.com/office/drawing/2014/main" val="3328530662"/>
                    </a:ext>
                  </a:extLst>
                </a:gridCol>
                <a:gridCol w="1165225">
                  <a:extLst>
                    <a:ext uri="{9D8B030D-6E8A-4147-A177-3AD203B41FA5}">
                      <a16:colId xmlns:a16="http://schemas.microsoft.com/office/drawing/2014/main" val="1905815984"/>
                    </a:ext>
                  </a:extLst>
                </a:gridCol>
              </a:tblGrid>
              <a:tr h="34908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Key words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FY22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FY23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5496635"/>
                  </a:ext>
                </a:extLst>
              </a:tr>
              <a:tr h="28102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rmacological interventions</a:t>
                      </a:r>
                    </a:p>
                  </a:txBody>
                  <a:tcPr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6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8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5588794"/>
                  </a:ext>
                </a:extLst>
              </a:tr>
              <a:tr h="28102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tural language processing</a:t>
                      </a:r>
                    </a:p>
                  </a:txBody>
                  <a:tcPr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6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5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4949274"/>
                  </a:ext>
                </a:extLst>
              </a:tr>
              <a:tr h="28102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rvey development</a:t>
                      </a:r>
                    </a:p>
                  </a:txBody>
                  <a:tcPr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6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4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5101812"/>
                  </a:ext>
                </a:extLst>
              </a:tr>
              <a:tr h="28102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regivers and supports</a:t>
                      </a:r>
                    </a:p>
                  </a:txBody>
                  <a:tcPr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5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2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31809"/>
                  </a:ext>
                </a:extLst>
              </a:tr>
              <a:tr h="28102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isis lines (including text, chat, web, etc.)</a:t>
                      </a:r>
                    </a:p>
                  </a:txBody>
                  <a:tcPr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5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3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0727503"/>
                  </a:ext>
                </a:extLst>
              </a:tr>
              <a:tr h="28102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omics</a:t>
                      </a:r>
                    </a:p>
                  </a:txBody>
                  <a:tcPr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5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3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8115034"/>
                  </a:ext>
                </a:extLst>
              </a:tr>
              <a:tr h="28102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althcare disparities</a:t>
                      </a:r>
                    </a:p>
                  </a:txBody>
                  <a:tcPr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5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5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1742649"/>
                  </a:ext>
                </a:extLst>
              </a:tr>
              <a:tr h="28102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ublic messaging</a:t>
                      </a:r>
                    </a:p>
                  </a:txBody>
                  <a:tcPr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5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3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0971361"/>
                  </a:ext>
                </a:extLst>
              </a:tr>
              <a:tr h="28102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BI</a:t>
                      </a:r>
                    </a:p>
                  </a:txBody>
                  <a:tcPr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4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6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1830583"/>
                  </a:ext>
                </a:extLst>
              </a:tr>
              <a:tr h="28102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onic pain and/or opioid use</a:t>
                      </a:r>
                    </a:p>
                  </a:txBody>
                  <a:tcPr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3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5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992748"/>
                  </a:ext>
                </a:extLst>
              </a:tr>
              <a:tr h="28102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somnia/sleep problems</a:t>
                      </a:r>
                    </a:p>
                  </a:txBody>
                  <a:tcPr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3%) 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5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7055844"/>
                  </a:ext>
                </a:extLst>
              </a:tr>
              <a:tr h="28102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ndemics (including COVID) and suicide</a:t>
                      </a:r>
                    </a:p>
                  </a:txBody>
                  <a:tcPr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3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3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7593355"/>
                  </a:ext>
                </a:extLst>
              </a:tr>
              <a:tr h="28102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bstance use and/or substance use disorders</a:t>
                      </a:r>
                    </a:p>
                  </a:txBody>
                  <a:tcPr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3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4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2316510"/>
                  </a:ext>
                </a:extLst>
              </a:tr>
              <a:tr h="28102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rmacoepidemiology</a:t>
                      </a:r>
                    </a:p>
                  </a:txBody>
                  <a:tcPr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2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4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7267013"/>
                  </a:ext>
                </a:extLst>
              </a:tr>
              <a:tr h="28102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asure development</a:t>
                      </a:r>
                    </a:p>
                  </a:txBody>
                  <a:tcPr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2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3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48494752"/>
                  </a:ext>
                </a:extLst>
              </a:tr>
              <a:tr h="28102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n-mental health medical comorbidity</a:t>
                      </a:r>
                    </a:p>
                  </a:txBody>
                  <a:tcPr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2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4283788"/>
                  </a:ext>
                </a:extLst>
              </a:tr>
              <a:tr h="28102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cision (personalized) medicine</a:t>
                      </a:r>
                    </a:p>
                  </a:txBody>
                  <a:tcPr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2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5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1526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376153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797E11-A7CF-423E-B562-5C239F1257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002060"/>
                </a:solidFill>
              </a:rPr>
              <a:t>Project Key Words FY22-FY23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5D67628-AF79-4485-9AC1-5D4394F2199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06331441"/>
              </p:ext>
            </p:extLst>
          </p:nvPr>
        </p:nvGraphicFramePr>
        <p:xfrm>
          <a:off x="437881" y="1442432"/>
          <a:ext cx="5550794" cy="5126527"/>
        </p:xfrm>
        <a:graphic>
          <a:graphicData uri="http://schemas.openxmlformats.org/drawingml/2006/table">
            <a:tbl>
              <a:tblPr/>
              <a:tblGrid>
                <a:gridCol w="3207126">
                  <a:extLst>
                    <a:ext uri="{9D8B030D-6E8A-4147-A177-3AD203B41FA5}">
                      <a16:colId xmlns:a16="http://schemas.microsoft.com/office/drawing/2014/main" val="2539193039"/>
                    </a:ext>
                  </a:extLst>
                </a:gridCol>
                <a:gridCol w="1171834">
                  <a:extLst>
                    <a:ext uri="{9D8B030D-6E8A-4147-A177-3AD203B41FA5}">
                      <a16:colId xmlns:a16="http://schemas.microsoft.com/office/drawing/2014/main" val="2665776387"/>
                    </a:ext>
                  </a:extLst>
                </a:gridCol>
                <a:gridCol w="1171834">
                  <a:extLst>
                    <a:ext uri="{9D8B030D-6E8A-4147-A177-3AD203B41FA5}">
                      <a16:colId xmlns:a16="http://schemas.microsoft.com/office/drawing/2014/main" val="1643580674"/>
                    </a:ext>
                  </a:extLst>
                </a:gridCol>
              </a:tblGrid>
              <a:tr h="38201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5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Key word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5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FY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5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FY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2860943"/>
                  </a:ext>
                </a:extLst>
              </a:tr>
              <a:tr h="30284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Risk assessment/stratification/screening</a:t>
                      </a:r>
                      <a:endParaRPr lang="en-US" sz="1200" b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38 (30%)</a:t>
                      </a:r>
                      <a:endParaRPr lang="en-US" sz="1200" b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 (26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7299753"/>
                  </a:ext>
                </a:extLst>
              </a:tr>
              <a:tr h="30284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Predictive modeling</a:t>
                      </a:r>
                      <a:endParaRPr lang="en-US" sz="1200" b="0" dirty="0">
                        <a:effectLst/>
                        <a:highlight>
                          <a:srgbClr val="FFFF00"/>
                        </a:highlight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21 (17%)</a:t>
                      </a:r>
                      <a:endParaRPr lang="en-US" sz="1200" b="0" dirty="0">
                        <a:effectLst/>
                        <a:highlight>
                          <a:srgbClr val="FFFF00"/>
                        </a:highlight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Calibri" panose="020F0502020204030204" pitchFamily="34" charset="0"/>
                        </a:rPr>
                        <a:t>18 (12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5737267"/>
                  </a:ext>
                </a:extLst>
              </a:tr>
              <a:tr h="30284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Psychotherapy intervention</a:t>
                      </a:r>
                      <a:endParaRPr lang="en-US" sz="1200" b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21 (17%)</a:t>
                      </a:r>
                      <a:endParaRPr lang="en-US" sz="1200" b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8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3538871"/>
                  </a:ext>
                </a:extLst>
              </a:tr>
              <a:tr h="30284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Mental health diagnosis</a:t>
                      </a:r>
                      <a:endParaRPr lang="en-US" sz="1200" b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20 (16%)</a:t>
                      </a:r>
                      <a:endParaRPr lang="en-US" sz="1200" b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(18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1258843"/>
                  </a:ext>
                </a:extLst>
              </a:tr>
              <a:tr h="30284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Qualitative methods</a:t>
                      </a:r>
                      <a:endParaRPr lang="en-US" sz="1200" b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20 (16%)</a:t>
                      </a:r>
                      <a:endParaRPr lang="en-US" sz="1200" b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(16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3373364"/>
                  </a:ext>
                </a:extLst>
              </a:tr>
              <a:tr h="30284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Social determinants of health</a:t>
                      </a:r>
                      <a:endParaRPr lang="en-US" sz="1200" b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9 (15%)</a:t>
                      </a:r>
                      <a:endParaRPr lang="en-US" sz="1200" b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 (13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3556111"/>
                  </a:ext>
                </a:extLst>
              </a:tr>
              <a:tr h="30284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Biological or Behavioral risk marker </a:t>
                      </a:r>
                      <a:endParaRPr lang="en-US" sz="1200" b="0" dirty="0">
                        <a:effectLst/>
                        <a:highlight>
                          <a:srgbClr val="FFFF00"/>
                        </a:highlight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8 (14%)</a:t>
                      </a:r>
                      <a:endParaRPr lang="en-US" sz="1200" b="0" dirty="0">
                        <a:effectLst/>
                        <a:highlight>
                          <a:srgbClr val="FFFF00"/>
                        </a:highlight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Calibri" panose="020F0502020204030204" pitchFamily="34" charset="0"/>
                        </a:rPr>
                        <a:t>28 (18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4233694"/>
                  </a:ext>
                </a:extLst>
              </a:tr>
              <a:tr h="30284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Brief interventions</a:t>
                      </a:r>
                      <a:endParaRPr lang="en-US" sz="1200" b="0" dirty="0">
                        <a:effectLst/>
                        <a:highlight>
                          <a:srgbClr val="FFFF00"/>
                        </a:highlight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7 (13%)</a:t>
                      </a:r>
                      <a:endParaRPr lang="en-US" sz="1200" b="0" dirty="0">
                        <a:effectLst/>
                        <a:highlight>
                          <a:srgbClr val="FFFF00"/>
                        </a:highlight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Calibri" panose="020F0502020204030204" pitchFamily="34" charset="0"/>
                        </a:rPr>
                        <a:t>30 (20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70668958"/>
                  </a:ext>
                </a:extLst>
              </a:tr>
              <a:tr h="30284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Lethal means safety</a:t>
                      </a:r>
                      <a:endParaRPr lang="en-US" sz="1200" b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6 (13%)</a:t>
                      </a:r>
                      <a:endParaRPr lang="en-US" sz="1200" b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9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8095852"/>
                  </a:ext>
                </a:extLst>
              </a:tr>
              <a:tr h="30284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Non-clinical interventions (e.g. community-level)</a:t>
                      </a:r>
                      <a:endParaRPr lang="en-US" sz="1200" b="0" dirty="0">
                        <a:effectLst/>
                        <a:highlight>
                          <a:srgbClr val="FFFF00"/>
                        </a:highlight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2 (10%)</a:t>
                      </a:r>
                      <a:endParaRPr lang="en-US" sz="1200" b="0" dirty="0">
                        <a:effectLst/>
                        <a:highlight>
                          <a:srgbClr val="FFFF00"/>
                        </a:highlight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Calibri" panose="020F0502020204030204" pitchFamily="34" charset="0"/>
                        </a:rPr>
                        <a:t>8 (5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40351402"/>
                  </a:ext>
                </a:extLst>
              </a:tr>
              <a:tr h="30284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Crisis Intervention</a:t>
                      </a:r>
                      <a:endParaRPr lang="en-US" sz="1200" b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0 (8%)</a:t>
                      </a:r>
                      <a:endParaRPr lang="en-US" sz="1200" b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7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8063658"/>
                  </a:ext>
                </a:extLst>
              </a:tr>
              <a:tr h="30284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Natural language processing</a:t>
                      </a:r>
                      <a:endParaRPr lang="en-US" sz="1200" b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 (7%)</a:t>
                      </a:r>
                      <a:endParaRPr lang="en-US" sz="1200" b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5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8276639"/>
                  </a:ext>
                </a:extLst>
              </a:tr>
              <a:tr h="30284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Safety Planning</a:t>
                      </a:r>
                      <a:endParaRPr lang="en-US" sz="1200" b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9 (7%)</a:t>
                      </a:r>
                      <a:endParaRPr lang="en-US" sz="1200" b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(9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6591448"/>
                  </a:ext>
                </a:extLst>
              </a:tr>
              <a:tr h="50473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mHealth (mobile/web application development/testing)</a:t>
                      </a:r>
                      <a:endParaRPr lang="en-US" sz="1200" b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8 (6%)</a:t>
                      </a:r>
                      <a:endParaRPr lang="en-US" sz="1200" b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7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7210383"/>
                  </a:ext>
                </a:extLst>
              </a:tr>
              <a:tr h="30284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Peers assisting with intervention</a:t>
                      </a:r>
                      <a:endParaRPr lang="en-US" sz="1200" b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8 (6%)</a:t>
                      </a:r>
                      <a:endParaRPr lang="en-US" sz="1200" b="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(7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9565566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E18E0FD7-1470-4E80-B307-20C3B5AF9A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592040"/>
              </p:ext>
            </p:extLst>
          </p:nvPr>
        </p:nvGraphicFramePr>
        <p:xfrm>
          <a:off x="6203327" y="1442434"/>
          <a:ext cx="5550793" cy="5126529"/>
        </p:xfrm>
        <a:graphic>
          <a:graphicData uri="http://schemas.openxmlformats.org/drawingml/2006/table">
            <a:tbl>
              <a:tblPr bandRow="1"/>
              <a:tblGrid>
                <a:gridCol w="3220343">
                  <a:extLst>
                    <a:ext uri="{9D8B030D-6E8A-4147-A177-3AD203B41FA5}">
                      <a16:colId xmlns:a16="http://schemas.microsoft.com/office/drawing/2014/main" val="2724066133"/>
                    </a:ext>
                  </a:extLst>
                </a:gridCol>
                <a:gridCol w="1165225">
                  <a:extLst>
                    <a:ext uri="{9D8B030D-6E8A-4147-A177-3AD203B41FA5}">
                      <a16:colId xmlns:a16="http://schemas.microsoft.com/office/drawing/2014/main" val="3328530662"/>
                    </a:ext>
                  </a:extLst>
                </a:gridCol>
                <a:gridCol w="1165225">
                  <a:extLst>
                    <a:ext uri="{9D8B030D-6E8A-4147-A177-3AD203B41FA5}">
                      <a16:colId xmlns:a16="http://schemas.microsoft.com/office/drawing/2014/main" val="1905815984"/>
                    </a:ext>
                  </a:extLst>
                </a:gridCol>
              </a:tblGrid>
              <a:tr h="34908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Key words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FY22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FY23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5496635"/>
                  </a:ext>
                </a:extLst>
              </a:tr>
              <a:tr h="28102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rmacological interventions</a:t>
                      </a:r>
                    </a:p>
                  </a:txBody>
                  <a:tcPr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6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(8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35588794"/>
                  </a:ext>
                </a:extLst>
              </a:tr>
              <a:tr h="28102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tural language processing</a:t>
                      </a:r>
                    </a:p>
                  </a:txBody>
                  <a:tcPr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6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5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4949274"/>
                  </a:ext>
                </a:extLst>
              </a:tr>
              <a:tr h="28102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rvey development</a:t>
                      </a:r>
                    </a:p>
                  </a:txBody>
                  <a:tcPr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6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4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15101812"/>
                  </a:ext>
                </a:extLst>
              </a:tr>
              <a:tr h="28102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Calibri" panose="020F0502020204030204" pitchFamily="34" charset="0"/>
                        </a:rPr>
                        <a:t>Caregivers and supports</a:t>
                      </a:r>
                    </a:p>
                  </a:txBody>
                  <a:tcPr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Calibri" panose="020F0502020204030204" pitchFamily="34" charset="0"/>
                        </a:rPr>
                        <a:t>6 (5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Calibri" panose="020F0502020204030204" pitchFamily="34" charset="0"/>
                        </a:rPr>
                        <a:t>3 (2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831809"/>
                  </a:ext>
                </a:extLst>
              </a:tr>
              <a:tr h="28102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isis lines (including text, chat, web, etc.)</a:t>
                      </a:r>
                    </a:p>
                  </a:txBody>
                  <a:tcPr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5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3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0727503"/>
                  </a:ext>
                </a:extLst>
              </a:tr>
              <a:tr h="28102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omics</a:t>
                      </a:r>
                    </a:p>
                  </a:txBody>
                  <a:tcPr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5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3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8115034"/>
                  </a:ext>
                </a:extLst>
              </a:tr>
              <a:tr h="28102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althcare disparities</a:t>
                      </a:r>
                    </a:p>
                  </a:txBody>
                  <a:tcPr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5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5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1742649"/>
                  </a:ext>
                </a:extLst>
              </a:tr>
              <a:tr h="28102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ublic messaging</a:t>
                      </a:r>
                    </a:p>
                  </a:txBody>
                  <a:tcPr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5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3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0971361"/>
                  </a:ext>
                </a:extLst>
              </a:tr>
              <a:tr h="28102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BI</a:t>
                      </a:r>
                    </a:p>
                  </a:txBody>
                  <a:tcPr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4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(6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1830583"/>
                  </a:ext>
                </a:extLst>
              </a:tr>
              <a:tr h="28102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onic pain and/or opioid use</a:t>
                      </a:r>
                    </a:p>
                  </a:txBody>
                  <a:tcPr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3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(5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992748"/>
                  </a:ext>
                </a:extLst>
              </a:tr>
              <a:tr h="28102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somnia/sleep problems</a:t>
                      </a:r>
                    </a:p>
                  </a:txBody>
                  <a:tcPr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3%) 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(5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7055844"/>
                  </a:ext>
                </a:extLst>
              </a:tr>
              <a:tr h="28102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ndemics (including COVID) and suicide</a:t>
                      </a:r>
                    </a:p>
                  </a:txBody>
                  <a:tcPr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3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3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7593355"/>
                  </a:ext>
                </a:extLst>
              </a:tr>
              <a:tr h="28102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bstance use and/or substance use disorders</a:t>
                      </a:r>
                    </a:p>
                  </a:txBody>
                  <a:tcPr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3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4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2316510"/>
                  </a:ext>
                </a:extLst>
              </a:tr>
              <a:tr h="28102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harmacoepidemiology</a:t>
                      </a:r>
                    </a:p>
                  </a:txBody>
                  <a:tcPr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2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(4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7267013"/>
                  </a:ext>
                </a:extLst>
              </a:tr>
              <a:tr h="28102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asure development</a:t>
                      </a:r>
                    </a:p>
                  </a:txBody>
                  <a:tcPr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2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3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48494752"/>
                  </a:ext>
                </a:extLst>
              </a:tr>
              <a:tr h="28102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n-mental health medical comorbidity</a:t>
                      </a:r>
                    </a:p>
                  </a:txBody>
                  <a:tcPr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2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1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4283788"/>
                  </a:ext>
                </a:extLst>
              </a:tr>
              <a:tr h="28102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Calibri" panose="020F0502020204030204" pitchFamily="34" charset="0"/>
                        </a:rPr>
                        <a:t>Precision (personalized) medicine</a:t>
                      </a:r>
                    </a:p>
                  </a:txBody>
                  <a:tcPr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Calibri" panose="020F0502020204030204" pitchFamily="34" charset="0"/>
                        </a:rPr>
                        <a:t>2 (2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latin typeface="Calibri" panose="020F0502020204030204" pitchFamily="34" charset="0"/>
                        </a:rPr>
                        <a:t>7 (5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1526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386176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52FA4F-CBC4-CE60-7B72-99DE75FFAB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26638"/>
            <a:ext cx="10515600" cy="664417"/>
          </a:xfrm>
        </p:spPr>
        <p:txBody>
          <a:bodyPr/>
          <a:lstStyle/>
          <a:p>
            <a:pPr algn="ctr"/>
            <a:r>
              <a:rPr lang="en-US" sz="3400" dirty="0"/>
              <a:t>Possible next step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5F553F-8A37-D9E2-BB76-7C98E5A6647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8289" y="1215957"/>
            <a:ext cx="11254902" cy="5428034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Needs assessment</a:t>
            </a:r>
          </a:p>
          <a:p>
            <a:pPr lvl="1"/>
            <a:r>
              <a:rPr lang="en-US" dirty="0"/>
              <a:t>What do people who use these data </a:t>
            </a:r>
            <a:r>
              <a:rPr lang="en-US" i="1" dirty="0"/>
              <a:t>need</a:t>
            </a:r>
            <a:r>
              <a:rPr lang="en-US" dirty="0"/>
              <a:t>? </a:t>
            </a:r>
            <a:r>
              <a:rPr lang="en-US" u="sng" dirty="0"/>
              <a:t>Audiences include</a:t>
            </a:r>
            <a:r>
              <a:rPr lang="en-US" dirty="0"/>
              <a:t>:</a:t>
            </a:r>
          </a:p>
          <a:p>
            <a:pPr lvl="2"/>
            <a:r>
              <a:rPr lang="en-US" sz="2200" dirty="0"/>
              <a:t>Operations/Program offices (Clinical and Research)</a:t>
            </a:r>
          </a:p>
          <a:p>
            <a:pPr lvl="2"/>
            <a:r>
              <a:rPr lang="en-US" sz="2200" dirty="0"/>
              <a:t>Congress</a:t>
            </a:r>
          </a:p>
          <a:p>
            <a:pPr lvl="2"/>
            <a:r>
              <a:rPr lang="en-US" sz="2200" dirty="0"/>
              <a:t>Investigators</a:t>
            </a:r>
          </a:p>
          <a:p>
            <a:pPr lvl="2"/>
            <a:r>
              <a:rPr lang="en-US" sz="2200" dirty="0"/>
              <a:t>Outside groups (e.g., DoD; NIMH)</a:t>
            </a:r>
          </a:p>
          <a:p>
            <a:r>
              <a:rPr lang="en-US" dirty="0">
                <a:solidFill>
                  <a:schemeClr val="tx1"/>
                </a:solidFill>
              </a:rPr>
              <a:t>(Eliminate socioecological model—too hard to code—not needed?)</a:t>
            </a:r>
          </a:p>
          <a:p>
            <a:pPr>
              <a:spcBef>
                <a:spcPts val="1800"/>
              </a:spcBef>
            </a:pPr>
            <a:r>
              <a:rPr lang="en-US" dirty="0">
                <a:solidFill>
                  <a:schemeClr val="tx1"/>
                </a:solidFill>
              </a:rPr>
              <a:t>Improved API data management system</a:t>
            </a:r>
          </a:p>
          <a:p>
            <a:pPr lvl="1"/>
            <a:r>
              <a:rPr lang="en-US" dirty="0"/>
              <a:t>More complete data across ORD and Operations</a:t>
            </a:r>
          </a:p>
          <a:p>
            <a:pPr lvl="1"/>
            <a:r>
              <a:rPr lang="en-US" dirty="0"/>
              <a:t>Standardization across ORD—single database?</a:t>
            </a:r>
          </a:p>
          <a:p>
            <a:pPr lvl="1"/>
            <a:r>
              <a:rPr lang="en-US" dirty="0"/>
              <a:t>Standardized information from PIs required during JIT process</a:t>
            </a:r>
          </a:p>
          <a:p>
            <a:pPr lvl="1"/>
            <a:r>
              <a:rPr lang="en-US" dirty="0"/>
              <a:t>Improved search functionality</a:t>
            </a:r>
          </a:p>
          <a:p>
            <a:pPr lvl="1"/>
            <a:r>
              <a:rPr lang="en-US" dirty="0"/>
              <a:t>What to do with NIH and other non-VA-funded research?</a:t>
            </a:r>
          </a:p>
        </p:txBody>
      </p:sp>
    </p:spTree>
    <p:extLst>
      <p:ext uri="{BB962C8B-B14F-4D97-AF65-F5344CB8AC3E}">
        <p14:creationId xmlns:p14="http://schemas.microsoft.com/office/powerpoint/2010/main" val="2071612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F08A7A-D932-16C9-BE57-07595B958E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174110"/>
            <a:ext cx="10515600" cy="905684"/>
          </a:xfrm>
        </p:spPr>
        <p:txBody>
          <a:bodyPr/>
          <a:lstStyle/>
          <a:p>
            <a:pPr algn="ctr"/>
            <a:r>
              <a:rPr lang="en-US" dirty="0"/>
              <a:t>Current API (on SPRINT website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533155-0996-5626-CCCB-C6938B025E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445340"/>
            <a:ext cx="10515600" cy="2918197"/>
          </a:xfrm>
        </p:spPr>
        <p:txBody>
          <a:bodyPr/>
          <a:lstStyle/>
          <a:p>
            <a:pPr marL="0" indent="0" algn="ctr">
              <a:buNone/>
            </a:pPr>
            <a:r>
              <a:rPr lang="en-US" sz="2400" dirty="0">
                <a:hlinkClick r:id="rId3"/>
              </a:rPr>
              <a:t>https://www.hsrd.research.va.gov/centers/core/sprint/API_SPRINT.html</a:t>
            </a:r>
            <a:endParaRPr lang="en-US" sz="2400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39409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8DF572-AD59-402E-8A49-BDF0B9D8B1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2208" y="643272"/>
            <a:ext cx="10515600" cy="510396"/>
          </a:xfrm>
        </p:spPr>
        <p:txBody>
          <a:bodyPr/>
          <a:lstStyle/>
          <a:p>
            <a:r>
              <a:rPr lang="en-US" sz="3600" dirty="0">
                <a:latin typeface="Georgia" panose="02040502050405020303" pitchFamily="18" charset="0"/>
              </a:rPr>
              <a:t>Active Projects Invento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347A96-C3D6-47BC-AD72-A9C5D630E1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850" y="1153668"/>
            <a:ext cx="11544300" cy="5285151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2200" u="sng" dirty="0">
                <a:solidFill>
                  <a:schemeClr val="tx1"/>
                </a:solidFill>
                <a:latin typeface="+mn-lt"/>
              </a:rPr>
              <a:t>SPRINT Goal #2</a:t>
            </a:r>
            <a:r>
              <a:rPr lang="en-US" sz="2200" dirty="0">
                <a:solidFill>
                  <a:schemeClr val="tx1"/>
                </a:solidFill>
                <a:latin typeface="+mn-lt"/>
              </a:rPr>
              <a:t>: “</a:t>
            </a:r>
            <a:r>
              <a:rPr lang="en-US" sz="2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</a:rPr>
              <a:t>Maintain an </a:t>
            </a:r>
            <a:r>
              <a:rPr lang="en-US" sz="2200" i="1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</a:rPr>
              <a:t>Active Projects Inventory</a:t>
            </a:r>
            <a:r>
              <a:rPr lang="en-US" sz="22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</a:rPr>
              <a:t> (API) containing information about VHA and non-VHA health services and clinical SP research activities, VHA operations-funded SP demonstration projects, and up-to-date information on evidence underlying SP interventions.”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  <a:latin typeface="+mn-lt"/>
              </a:rPr>
              <a:t>API Includes: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2200" dirty="0"/>
              <a:t>Active research and operations SP projects in Veteran (and military) populations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2200" dirty="0"/>
              <a:t>Projects with current funding during FY2023 as well as others with pending funding.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2200" dirty="0"/>
              <a:t>Projects required at least one aim/goal specifically focusing on suicide prevention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dirty="0">
                <a:solidFill>
                  <a:schemeClr val="tx1"/>
                </a:solidFill>
                <a:latin typeface="+mn-lt"/>
              </a:rPr>
              <a:t>Databases and data sources: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2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RD RAFT active project lists, distributed quarterly from Bob O’Brien </a:t>
            </a:r>
            <a:endParaRPr lang="en-US" sz="2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2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view of VA funding announcements and lists posted on the VA ORD website</a:t>
            </a:r>
            <a:endParaRPr lang="en-US" sz="2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2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mensions (</a:t>
            </a:r>
            <a:r>
              <a:rPr lang="en-US" sz="2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3"/>
              </a:rPr>
              <a:t>https://va.dimensions.ai/discover/publication</a:t>
            </a:r>
            <a:r>
              <a:rPr lang="en-US" sz="2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en-US" sz="2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2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IH Reporter (</a:t>
            </a:r>
            <a:r>
              <a:rPr lang="en-US" sz="2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hlinkClick r:id="rId4"/>
              </a:rPr>
              <a:t>https://reporter.nih.gov/</a:t>
            </a:r>
            <a:r>
              <a:rPr lang="en-US" sz="2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en-US" sz="2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2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perations funding project lists (periodically) including OMHSP, VISN 2 CoE, and RM MIRECC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2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ord of mouth</a:t>
            </a:r>
            <a:endParaRPr lang="en-US" sz="2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US" sz="22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llow-up communications with investigators of funded projects</a:t>
            </a:r>
            <a:endParaRPr lang="en-US" sz="2200" i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86597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BC1D18-A11A-9CC8-D618-B2F2747B8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 we collect and organiz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D05957-79B1-47AB-405D-1423E676C3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tudy aims, objectives, abstract</a:t>
            </a:r>
            <a:endParaRPr lang="en-US" sz="2400" dirty="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I &amp; Co-I name, location, and facility</a:t>
            </a:r>
            <a:endParaRPr lang="en-US" sz="2400" dirty="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unding organization/line</a:t>
            </a:r>
            <a:endParaRPr lang="en-US" sz="2400" dirty="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unding start and end date</a:t>
            </a:r>
            <a:endParaRPr lang="en-US" sz="2400" dirty="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ject funding/ID number</a:t>
            </a:r>
            <a:endParaRPr lang="en-US" sz="2400" dirty="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tabase Source</a:t>
            </a:r>
            <a:endParaRPr lang="en-US" sz="2400" dirty="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ocioecological level</a:t>
            </a:r>
            <a:endParaRPr lang="en-US" sz="2400" dirty="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ublic health approach</a:t>
            </a:r>
            <a:endParaRPr lang="en-US" sz="2400" dirty="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tudy type</a:t>
            </a:r>
            <a:endParaRPr lang="en-US" sz="2400" dirty="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eyword(s)</a:t>
            </a:r>
            <a:endParaRPr lang="en-US" sz="2400" dirty="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2400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tudy population</a:t>
            </a:r>
            <a:endParaRPr lang="en-US" sz="2400" dirty="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43210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B388D8-E4BA-9A4D-5677-5B1F30D9B5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I Limitations/Challeng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F365F7-6489-694D-F3E0-5B01DD214E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6021" y="1586721"/>
            <a:ext cx="10515600" cy="4833534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Dependent on what is in RAFT</a:t>
            </a:r>
          </a:p>
          <a:p>
            <a:pPr lvl="1"/>
            <a:r>
              <a:rPr lang="en-US" dirty="0"/>
              <a:t>Missing newest funded projects</a:t>
            </a:r>
          </a:p>
          <a:p>
            <a:pPr lvl="1"/>
            <a:r>
              <a:rPr lang="en-US" dirty="0"/>
              <a:t>Missing some projects (e.g., CDAs; SWIFTS, etc.)</a:t>
            </a:r>
          </a:p>
          <a:p>
            <a:pPr lvl="1"/>
            <a:r>
              <a:rPr lang="en-US" dirty="0"/>
              <a:t>RAFT definitions of suicide prevention doesn’t always fit with ours</a:t>
            </a:r>
          </a:p>
          <a:p>
            <a:r>
              <a:rPr lang="en-US" dirty="0">
                <a:solidFill>
                  <a:schemeClr val="tx1"/>
                </a:solidFill>
              </a:rPr>
              <a:t>Hard to code and search for certain features of projects</a:t>
            </a:r>
          </a:p>
          <a:p>
            <a:pPr lvl="1"/>
            <a:r>
              <a:rPr lang="en-US" dirty="0"/>
              <a:t>Standardization would be helpful</a:t>
            </a:r>
          </a:p>
          <a:p>
            <a:r>
              <a:rPr lang="en-US" dirty="0">
                <a:solidFill>
                  <a:schemeClr val="tx1"/>
                </a:solidFill>
              </a:rPr>
              <a:t>Needs vary across users and over time</a:t>
            </a:r>
          </a:p>
          <a:p>
            <a:r>
              <a:rPr lang="en-US" dirty="0">
                <a:solidFill>
                  <a:schemeClr val="tx1"/>
                </a:solidFill>
              </a:rPr>
              <a:t>Manual effort is considerable</a:t>
            </a:r>
          </a:p>
          <a:p>
            <a:pPr lvl="1"/>
            <a:r>
              <a:rPr lang="en-US" dirty="0"/>
              <a:t>Manual RAFT pulls</a:t>
            </a:r>
          </a:p>
          <a:p>
            <a:pPr lvl="1"/>
            <a:r>
              <a:rPr lang="en-US" dirty="0"/>
              <a:t>Additional information needed from investigators</a:t>
            </a:r>
          </a:p>
          <a:p>
            <a:pPr lvl="1"/>
            <a:r>
              <a:rPr lang="en-US" dirty="0"/>
              <a:t>Coding dependent on investigator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4307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B9778C-6D42-37BA-2F01-01E57C080C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VA Funded Projects FY2022/2023</a:t>
            </a:r>
          </a:p>
        </p:txBody>
      </p:sp>
      <p:graphicFrame>
        <p:nvGraphicFramePr>
          <p:cNvPr id="10" name="Content Placeholder 9">
            <a:extLst>
              <a:ext uri="{FF2B5EF4-FFF2-40B4-BE49-F238E27FC236}">
                <a16:creationId xmlns:a16="http://schemas.microsoft.com/office/drawing/2014/main" id="{1EE08BE8-5A5D-135A-6D0A-6DA6F6BC473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98414025"/>
              </p:ext>
            </p:extLst>
          </p:nvPr>
        </p:nvGraphicFramePr>
        <p:xfrm>
          <a:off x="3560323" y="2004854"/>
          <a:ext cx="3143980" cy="4616788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2226986">
                  <a:extLst>
                    <a:ext uri="{9D8B030D-6E8A-4147-A177-3AD203B41FA5}">
                      <a16:colId xmlns:a16="http://schemas.microsoft.com/office/drawing/2014/main" val="4248935407"/>
                    </a:ext>
                  </a:extLst>
                </a:gridCol>
                <a:gridCol w="916994">
                  <a:extLst>
                    <a:ext uri="{9D8B030D-6E8A-4147-A177-3AD203B41FA5}">
                      <a16:colId xmlns:a16="http://schemas.microsoft.com/office/drawing/2014/main" val="4214465961"/>
                    </a:ext>
                  </a:extLst>
                </a:gridCol>
              </a:tblGrid>
              <a:tr h="290582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</a:rPr>
                        <a:t>VA Studies FY2023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</a:rPr>
                        <a:t>N=152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14 unique investigators</a:t>
                      </a:r>
                    </a:p>
                  </a:txBody>
                  <a:tcPr marL="0" marR="0" marT="0" marB="0" anchor="ctr">
                    <a:solidFill>
                      <a:srgbClr val="4472C4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EA9D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0159717"/>
                  </a:ext>
                </a:extLst>
              </a:tr>
              <a:tr h="290582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Funding department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Study Count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2454820"/>
                  </a:ext>
                </a:extLst>
              </a:tr>
              <a:tr h="290582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HSRD/QUERI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4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963147167"/>
                  </a:ext>
                </a:extLst>
              </a:tr>
              <a:tr h="290582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CSR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66524343"/>
                  </a:ext>
                </a:extLst>
              </a:tr>
              <a:tr h="290582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RRD (includes SPIRE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76023064"/>
                  </a:ext>
                </a:extLst>
              </a:tr>
              <a:tr h="290582">
                <a:tc>
                  <a:txBody>
                    <a:bodyPr/>
                    <a:lstStyle/>
                    <a:p>
                      <a:pPr marL="0" indent="0" algn="l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Other OMHSP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7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889223359"/>
                  </a:ext>
                </a:extLst>
              </a:tr>
              <a:tr h="290582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Center of Excellenc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58432723"/>
                  </a:ext>
                </a:extLst>
              </a:tr>
              <a:tr h="290582">
                <a:tc>
                  <a:txBody>
                    <a:bodyPr/>
                    <a:lstStyle/>
                    <a:p>
                      <a:pPr marL="0" indent="0" algn="l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PRINT planning awar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960627884"/>
                  </a:ext>
                </a:extLst>
              </a:tr>
              <a:tr h="290582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Other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7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686421946"/>
                  </a:ext>
                </a:extLst>
              </a:tr>
              <a:tr h="290582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MIRECC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6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95312549"/>
                  </a:ext>
                </a:extLst>
              </a:tr>
              <a:tr h="290582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BLR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44570461"/>
                  </a:ext>
                </a:extLst>
              </a:tr>
              <a:tr h="290582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ORH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539169698"/>
                  </a:ext>
                </a:extLst>
              </a:tr>
              <a:tr h="290582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VISN-funde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927932423"/>
                  </a:ext>
                </a:extLst>
              </a:tr>
              <a:tr h="290582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Partnered ORD/Operation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230904255"/>
                  </a:ext>
                </a:extLst>
              </a:tr>
              <a:tr h="290582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Tota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5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231252097"/>
                  </a:ext>
                </a:extLst>
              </a:tr>
            </a:tbl>
          </a:graphicData>
        </a:graphic>
      </p:graphicFrame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BAA13986-C800-8143-2849-C2F7CC11892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5142631"/>
              </p:ext>
            </p:extLst>
          </p:nvPr>
        </p:nvGraphicFramePr>
        <p:xfrm>
          <a:off x="6704303" y="2004853"/>
          <a:ext cx="5487697" cy="44339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" name="Content Placeholder 5">
            <a:extLst>
              <a:ext uri="{FF2B5EF4-FFF2-40B4-BE49-F238E27FC236}">
                <a16:creationId xmlns:a16="http://schemas.microsoft.com/office/drawing/2014/main" id="{958025C6-E36E-F99B-6D27-CC988A39A3E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16808699"/>
              </p:ext>
            </p:extLst>
          </p:nvPr>
        </p:nvGraphicFramePr>
        <p:xfrm>
          <a:off x="137808" y="2004852"/>
          <a:ext cx="3068558" cy="4625480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1988426">
                  <a:extLst>
                    <a:ext uri="{9D8B030D-6E8A-4147-A177-3AD203B41FA5}">
                      <a16:colId xmlns:a16="http://schemas.microsoft.com/office/drawing/2014/main" val="1386387615"/>
                    </a:ext>
                  </a:extLst>
                </a:gridCol>
                <a:gridCol w="1080132">
                  <a:extLst>
                    <a:ext uri="{9D8B030D-6E8A-4147-A177-3AD203B41FA5}">
                      <a16:colId xmlns:a16="http://schemas.microsoft.com/office/drawing/2014/main" val="944901954"/>
                    </a:ext>
                  </a:extLst>
                </a:gridCol>
              </a:tblGrid>
              <a:tr h="36659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VA Studies FY2022</a:t>
                      </a:r>
                    </a:p>
                    <a:p>
                      <a:pPr algn="ctr" fontAlgn="ctr"/>
                      <a:r>
                        <a:rPr lang="en-US" sz="12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N=126</a:t>
                      </a:r>
                    </a:p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94 unique investigators</a:t>
                      </a:r>
                    </a:p>
                  </a:txBody>
                  <a:tcPr marL="9525" marR="9525" marT="9525" marB="0" anchor="ctr">
                    <a:solidFill>
                      <a:srgbClr val="4472C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7254943"/>
                  </a:ext>
                </a:extLst>
              </a:tr>
              <a:tr h="33955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 Funding Source 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 Study Count 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2205655"/>
                  </a:ext>
                </a:extLst>
              </a:tr>
              <a:tr h="26394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HSRD/QUERI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8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36074245"/>
                  </a:ext>
                </a:extLst>
              </a:tr>
              <a:tr h="26394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CSRD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7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6348891"/>
                  </a:ext>
                </a:extLst>
              </a:tr>
              <a:tr h="26394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Other OMHSP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7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990294"/>
                  </a:ext>
                </a:extLst>
              </a:tr>
              <a:tr h="29649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SPRINT Planning Award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8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55496844"/>
                  </a:ext>
                </a:extLst>
              </a:tr>
              <a:tr h="26394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Center of Excellenc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6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09252289"/>
                  </a:ext>
                </a:extLst>
              </a:tr>
              <a:tr h="26394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Office of Rural Health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6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33032481"/>
                  </a:ext>
                </a:extLst>
              </a:tr>
              <a:tr h="26394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RRD (includes SPIRE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6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81649643"/>
                  </a:ext>
                </a:extLst>
              </a:tr>
              <a:tr h="26394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MIRECC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5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21839865"/>
                  </a:ext>
                </a:extLst>
              </a:tr>
              <a:tr h="26394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Other 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5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28511029"/>
                  </a:ext>
                </a:extLst>
              </a:tr>
              <a:tr h="26394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BLRD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  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98225919"/>
                  </a:ext>
                </a:extLst>
              </a:tr>
              <a:tr h="26394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Partnered ORD/Operations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2  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33150730"/>
                  </a:ext>
                </a:extLst>
              </a:tr>
              <a:tr h="26394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VISN-Funded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92231033"/>
                  </a:ext>
                </a:extLst>
              </a:tr>
              <a:tr h="26394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SWIFT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26971473"/>
                  </a:ext>
                </a:extLst>
              </a:tr>
              <a:tr h="26394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Tota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126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38330426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BBF09830-0D71-3222-2FDA-1BD51B8CD022}"/>
              </a:ext>
            </a:extLst>
          </p:cNvPr>
          <p:cNvSpPr txBox="1"/>
          <p:nvPr/>
        </p:nvSpPr>
        <p:spPr>
          <a:xfrm>
            <a:off x="8582585" y="5995175"/>
            <a:ext cx="32393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Y2023 Project Funding Sources</a:t>
            </a:r>
          </a:p>
        </p:txBody>
      </p:sp>
    </p:spTree>
    <p:extLst>
      <p:ext uri="{BB962C8B-B14F-4D97-AF65-F5344CB8AC3E}">
        <p14:creationId xmlns:p14="http://schemas.microsoft.com/office/powerpoint/2010/main" val="21234538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1E73D1-7870-41B1-9E8A-C5C74A230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467" y="875713"/>
            <a:ext cx="11403066" cy="905684"/>
          </a:xfrm>
        </p:spPr>
        <p:txBody>
          <a:bodyPr/>
          <a:lstStyle/>
          <a:p>
            <a:pPr algn="ctr"/>
            <a:r>
              <a:rPr lang="en-US" sz="3600" dirty="0">
                <a:solidFill>
                  <a:srgbClr val="002060"/>
                </a:solidFill>
                <a:latin typeface="+mn-lt"/>
              </a:rPr>
              <a:t>	  </a:t>
            </a:r>
            <a:r>
              <a:rPr lang="en-US" dirty="0">
                <a:solidFill>
                  <a:srgbClr val="002060"/>
                </a:solidFill>
                <a:latin typeface="+mn-lt"/>
              </a:rPr>
              <a:t>VA-funded Projects by Study Type		</a:t>
            </a:r>
            <a:endParaRPr lang="en-US" sz="3600" dirty="0">
              <a:solidFill>
                <a:srgbClr val="002060"/>
              </a:solidFill>
              <a:latin typeface="+mn-lt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4BEA0A13-10D7-4A16-BBBE-39A06ED3FEA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3467881"/>
              </p:ext>
            </p:extLst>
          </p:nvPr>
        </p:nvGraphicFramePr>
        <p:xfrm>
          <a:off x="394468" y="1970689"/>
          <a:ext cx="3420209" cy="3775329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1995311">
                  <a:extLst>
                    <a:ext uri="{9D8B030D-6E8A-4147-A177-3AD203B41FA5}">
                      <a16:colId xmlns:a16="http://schemas.microsoft.com/office/drawing/2014/main" val="2777951304"/>
                    </a:ext>
                  </a:extLst>
                </a:gridCol>
                <a:gridCol w="712449">
                  <a:extLst>
                    <a:ext uri="{9D8B030D-6E8A-4147-A177-3AD203B41FA5}">
                      <a16:colId xmlns:a16="http://schemas.microsoft.com/office/drawing/2014/main" val="1522774492"/>
                    </a:ext>
                  </a:extLst>
                </a:gridCol>
                <a:gridCol w="712449">
                  <a:extLst>
                    <a:ext uri="{9D8B030D-6E8A-4147-A177-3AD203B41FA5}">
                      <a16:colId xmlns:a16="http://schemas.microsoft.com/office/drawing/2014/main" val="1941441891"/>
                    </a:ext>
                  </a:extLst>
                </a:gridCol>
              </a:tblGrid>
              <a:tr h="376733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n-US" sz="1400" b="1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Number of Projects by Study Type </a:t>
                      </a:r>
                      <a:r>
                        <a:rPr lang="en-US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FY2021</a:t>
                      </a:r>
                      <a:endParaRPr lang="en-US" sz="1400" b="1" i="0" u="none" strike="noStrike" dirty="0">
                        <a:solidFill>
                          <a:srgbClr val="FFFF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solidFill>
                      <a:srgbClr val="4472C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400" b="1" i="0" u="none" strike="noStrike" dirty="0">
                        <a:solidFill>
                          <a:srgbClr val="FFFF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7708427"/>
                  </a:ext>
                </a:extLst>
              </a:tr>
              <a:tr h="342018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Study Type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n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%</a:t>
                      </a:r>
                    </a:p>
                  </a:txBody>
                  <a:tcPr anchor="ctr"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3543724"/>
                  </a:ext>
                </a:extLst>
              </a:tr>
              <a:tr h="37000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Other Observational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49525354"/>
                  </a:ext>
                </a:extLst>
              </a:tr>
              <a:tr h="37000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Observational-Cohor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14483642"/>
                  </a:ext>
                </a:extLst>
              </a:tr>
              <a:tr h="37000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Intervention-Pilo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03171967"/>
                  </a:ext>
                </a:extLst>
              </a:tr>
              <a:tr h="37000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Intervention-Tria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91765449"/>
                  </a:ext>
                </a:extLst>
              </a:tr>
              <a:tr h="37000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Implementation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24945088"/>
                  </a:ext>
                </a:extLst>
              </a:tr>
              <a:tr h="37000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Other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26203573"/>
                  </a:ext>
                </a:extLst>
              </a:tr>
              <a:tr h="46655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Bench/Animal Experimenta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32274485"/>
                  </a:ext>
                </a:extLst>
              </a:tr>
              <a:tr h="37000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Tota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128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92191957"/>
                  </a:ext>
                </a:extLst>
              </a:tr>
            </a:tbl>
          </a:graphicData>
        </a:graphic>
      </p:graphicFrame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0E40D819-4EB0-85E2-AA70-46F296AE48C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66971173"/>
              </p:ext>
            </p:extLst>
          </p:nvPr>
        </p:nvGraphicFramePr>
        <p:xfrm>
          <a:off x="8130205" y="1962804"/>
          <a:ext cx="3504747" cy="3775329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2064061">
                  <a:extLst>
                    <a:ext uri="{9D8B030D-6E8A-4147-A177-3AD203B41FA5}">
                      <a16:colId xmlns:a16="http://schemas.microsoft.com/office/drawing/2014/main" val="2759745152"/>
                    </a:ext>
                  </a:extLst>
                </a:gridCol>
                <a:gridCol w="720343">
                  <a:extLst>
                    <a:ext uri="{9D8B030D-6E8A-4147-A177-3AD203B41FA5}">
                      <a16:colId xmlns:a16="http://schemas.microsoft.com/office/drawing/2014/main" val="1757662642"/>
                    </a:ext>
                  </a:extLst>
                </a:gridCol>
                <a:gridCol w="720343">
                  <a:extLst>
                    <a:ext uri="{9D8B030D-6E8A-4147-A177-3AD203B41FA5}">
                      <a16:colId xmlns:a16="http://schemas.microsoft.com/office/drawing/2014/main" val="1728845485"/>
                    </a:ext>
                  </a:extLst>
                </a:gridCol>
              </a:tblGrid>
              <a:tr h="41975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Number of Projects by Study Type FY2023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solidFill>
                      <a:srgbClr val="4472C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2563789"/>
                  </a:ext>
                </a:extLst>
              </a:tr>
              <a:tr h="32531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Study type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n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%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4553910"/>
                  </a:ext>
                </a:extLst>
              </a:tr>
              <a:tr h="33669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Observational-Cohor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6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4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85922392"/>
                  </a:ext>
                </a:extLst>
              </a:tr>
              <a:tr h="33669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Intervention-Tria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9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12840708"/>
                  </a:ext>
                </a:extLst>
              </a:tr>
              <a:tr h="33669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Other Observational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6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40050877"/>
                  </a:ext>
                </a:extLst>
              </a:tr>
              <a:tr h="33669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Intervention-Pilo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5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28160856"/>
                  </a:ext>
                </a:extLst>
              </a:tr>
              <a:tr h="33669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Other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5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47103588"/>
                  </a:ext>
                </a:extLst>
              </a:tr>
              <a:tr h="33669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NR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7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56938068"/>
                  </a:ext>
                </a:extLst>
              </a:tr>
              <a:tr h="33669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Implementation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9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6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36017667"/>
                  </a:ext>
                </a:extLst>
              </a:tr>
              <a:tr h="33669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Bench/Animal Experimenta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45971710"/>
                  </a:ext>
                </a:extLst>
              </a:tr>
              <a:tr h="33669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Total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15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0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40499911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0692F9CE-26D8-A018-D242-F3B148B1631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6295928"/>
              </p:ext>
            </p:extLst>
          </p:nvPr>
        </p:nvGraphicFramePr>
        <p:xfrm>
          <a:off x="4138777" y="1962807"/>
          <a:ext cx="3667328" cy="3775339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2042458">
                  <a:extLst>
                    <a:ext uri="{9D8B030D-6E8A-4147-A177-3AD203B41FA5}">
                      <a16:colId xmlns:a16="http://schemas.microsoft.com/office/drawing/2014/main" val="557650820"/>
                    </a:ext>
                  </a:extLst>
                </a:gridCol>
                <a:gridCol w="812435">
                  <a:extLst>
                    <a:ext uri="{9D8B030D-6E8A-4147-A177-3AD203B41FA5}">
                      <a16:colId xmlns:a16="http://schemas.microsoft.com/office/drawing/2014/main" val="3905516575"/>
                    </a:ext>
                  </a:extLst>
                </a:gridCol>
                <a:gridCol w="812435">
                  <a:extLst>
                    <a:ext uri="{9D8B030D-6E8A-4147-A177-3AD203B41FA5}">
                      <a16:colId xmlns:a16="http://schemas.microsoft.com/office/drawing/2014/main" val="704744391"/>
                    </a:ext>
                  </a:extLst>
                </a:gridCol>
              </a:tblGrid>
              <a:tr h="39901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n-US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Number of Projects by Study Type FY2022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rgbClr val="4472C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574578"/>
                  </a:ext>
                </a:extLst>
              </a:tr>
              <a:tr h="337632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Study Type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n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%</a:t>
                      </a:r>
                    </a:p>
                  </a:txBody>
                  <a:tcPr anchor="ctr"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2780807"/>
                  </a:ext>
                </a:extLst>
              </a:tr>
              <a:tr h="337632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 Observational-Cohort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39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95645925"/>
                  </a:ext>
                </a:extLst>
              </a:tr>
              <a:tr h="337632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 Other Observational 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29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30377505"/>
                  </a:ext>
                </a:extLst>
              </a:tr>
              <a:tr h="337632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 Intervention-Trial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22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00544007"/>
                  </a:ext>
                </a:extLst>
              </a:tr>
              <a:tr h="337632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>
                          <a:effectLst/>
                          <a:latin typeface="+mn-lt"/>
                        </a:rPr>
                        <a:t> Intervention-Pilot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14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28008474"/>
                  </a:ext>
                </a:extLst>
              </a:tr>
              <a:tr h="337632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 Implementation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>
                          <a:effectLst/>
                          <a:latin typeface="+mn-lt"/>
                        </a:rPr>
                        <a:t>9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19847152"/>
                  </a:ext>
                </a:extLst>
              </a:tr>
              <a:tr h="337632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>
                          <a:effectLst/>
                          <a:latin typeface="+mn-lt"/>
                        </a:rPr>
                        <a:t> Other 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>
                          <a:effectLst/>
                          <a:latin typeface="+mn-lt"/>
                        </a:rPr>
                        <a:t>7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75528383"/>
                  </a:ext>
                </a:extLst>
              </a:tr>
              <a:tr h="337632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 Bench/Animal Experimental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>
                          <a:effectLst/>
                          <a:latin typeface="+mn-lt"/>
                        </a:rPr>
                        <a:t>5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63144539"/>
                  </a:ext>
                </a:extLst>
              </a:tr>
              <a:tr h="337632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 NR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>
                          <a:effectLst/>
                          <a:latin typeface="+mn-lt"/>
                        </a:rPr>
                        <a:t>1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25169656"/>
                  </a:ext>
                </a:extLst>
              </a:tr>
              <a:tr h="337632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t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027752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013319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96FFBE27-50E7-5CBB-DF6B-EBB9C2913AE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124" y="2816194"/>
            <a:ext cx="2178081" cy="2702434"/>
          </a:xfrm>
          <a:prstGeom prst="rect">
            <a:avLst/>
          </a:prstGeom>
        </p:spPr>
      </p:pic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11E19CA9-BB16-5A8F-7C88-B895A077FAB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69229558"/>
              </p:ext>
            </p:extLst>
          </p:nvPr>
        </p:nvGraphicFramePr>
        <p:xfrm>
          <a:off x="8077191" y="2281191"/>
          <a:ext cx="4256104" cy="36617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B935939-9DCA-3034-4B90-E1FE837E3C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85004"/>
            <a:ext cx="10873902" cy="905684"/>
          </a:xfrm>
        </p:spPr>
        <p:txBody>
          <a:bodyPr/>
          <a:lstStyle/>
          <a:p>
            <a:r>
              <a:rPr lang="en-US" dirty="0"/>
              <a:t>FY2021 – FY2023 Projects by Study Type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0362352C-D47F-E5D1-8A86-DB68276ACC9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79786623"/>
              </p:ext>
            </p:extLst>
          </p:nvPr>
        </p:nvGraphicFramePr>
        <p:xfrm>
          <a:off x="4695295" y="2407099"/>
          <a:ext cx="4120055" cy="3285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B24D8335-A309-5D0D-3780-60830D8A708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08914045"/>
              </p:ext>
            </p:extLst>
          </p:nvPr>
        </p:nvGraphicFramePr>
        <p:xfrm>
          <a:off x="1361195" y="2584482"/>
          <a:ext cx="3804856" cy="3285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49996466-0346-829B-6135-D4DC5037533C}"/>
              </a:ext>
            </a:extLst>
          </p:cNvPr>
          <p:cNvSpPr txBox="1"/>
          <p:nvPr/>
        </p:nvSpPr>
        <p:spPr>
          <a:xfrm>
            <a:off x="9910177" y="1998080"/>
            <a:ext cx="1026312" cy="3680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Y202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A2BC6C2-3FF8-366D-B8DE-121456D672A9}"/>
              </a:ext>
            </a:extLst>
          </p:cNvPr>
          <p:cNvSpPr txBox="1"/>
          <p:nvPr/>
        </p:nvSpPr>
        <p:spPr>
          <a:xfrm>
            <a:off x="6242167" y="1996788"/>
            <a:ext cx="1026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Y2022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51DC50C-57DF-C71D-E71B-1E9EDECC2287}"/>
              </a:ext>
            </a:extLst>
          </p:cNvPr>
          <p:cNvSpPr txBox="1"/>
          <p:nvPr/>
        </p:nvSpPr>
        <p:spPr>
          <a:xfrm>
            <a:off x="2908435" y="1996788"/>
            <a:ext cx="1026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Y2021</a:t>
            </a:r>
          </a:p>
        </p:txBody>
      </p:sp>
    </p:spTree>
    <p:extLst>
      <p:ext uri="{BB962C8B-B14F-4D97-AF65-F5344CB8AC3E}">
        <p14:creationId xmlns:p14="http://schemas.microsoft.com/office/powerpoint/2010/main" val="4809358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1E73D1-7870-41B1-9E8A-C5C74A230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657" y="836363"/>
            <a:ext cx="11403066" cy="609500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002060"/>
                </a:solidFill>
                <a:latin typeface="+mn-lt"/>
              </a:rPr>
              <a:t>Public Health Approach  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CE31A8B2-57D3-4FC6-B7E7-9F57F13584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8839452"/>
              </p:ext>
            </p:extLst>
          </p:nvPr>
        </p:nvGraphicFramePr>
        <p:xfrm>
          <a:off x="277657" y="2232693"/>
          <a:ext cx="3596411" cy="3179443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1640334">
                  <a:extLst>
                    <a:ext uri="{9D8B030D-6E8A-4147-A177-3AD203B41FA5}">
                      <a16:colId xmlns:a16="http://schemas.microsoft.com/office/drawing/2014/main" val="75433992"/>
                    </a:ext>
                  </a:extLst>
                </a:gridCol>
                <a:gridCol w="995015">
                  <a:extLst>
                    <a:ext uri="{9D8B030D-6E8A-4147-A177-3AD203B41FA5}">
                      <a16:colId xmlns:a16="http://schemas.microsoft.com/office/drawing/2014/main" val="2603987195"/>
                    </a:ext>
                  </a:extLst>
                </a:gridCol>
                <a:gridCol w="961062">
                  <a:extLst>
                    <a:ext uri="{9D8B030D-6E8A-4147-A177-3AD203B41FA5}">
                      <a16:colId xmlns:a16="http://schemas.microsoft.com/office/drawing/2014/main" val="4030507610"/>
                    </a:ext>
                  </a:extLst>
                </a:gridCol>
              </a:tblGrid>
              <a:tr h="517572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Number of Studies by Public Health Approach FY2021</a:t>
                      </a:r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4472C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6322219"/>
                  </a:ext>
                </a:extLst>
              </a:tr>
              <a:tr h="492135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  Public Health Approach 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n 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1626645"/>
                  </a:ext>
                </a:extLst>
              </a:tr>
              <a:tr h="54243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  Selectiv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6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55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9399037"/>
                  </a:ext>
                </a:extLst>
              </a:tr>
              <a:tr h="54243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  Universal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3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66590927"/>
                  </a:ext>
                </a:extLst>
              </a:tr>
              <a:tr h="54243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  Indicated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8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2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56965213"/>
                  </a:ext>
                </a:extLst>
              </a:tr>
              <a:tr h="54243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Tota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26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2226476"/>
                  </a:ext>
                </a:extLst>
              </a:tr>
            </a:tbl>
          </a:graphicData>
        </a:graphic>
      </p:graphicFrame>
      <p:graphicFrame>
        <p:nvGraphicFramePr>
          <p:cNvPr id="4" name="Content Placeholder 4">
            <a:extLst>
              <a:ext uri="{FF2B5EF4-FFF2-40B4-BE49-F238E27FC236}">
                <a16:creationId xmlns:a16="http://schemas.microsoft.com/office/drawing/2014/main" id="{BF515EFC-787A-6504-4D80-C02516834C1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53137242"/>
              </p:ext>
            </p:extLst>
          </p:nvPr>
        </p:nvGraphicFramePr>
        <p:xfrm>
          <a:off x="8256881" y="2205659"/>
          <a:ext cx="3524696" cy="3206476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2075807">
                  <a:extLst>
                    <a:ext uri="{9D8B030D-6E8A-4147-A177-3AD203B41FA5}">
                      <a16:colId xmlns:a16="http://schemas.microsoft.com/office/drawing/2014/main" val="1194204472"/>
                    </a:ext>
                  </a:extLst>
                </a:gridCol>
                <a:gridCol w="780171">
                  <a:extLst>
                    <a:ext uri="{9D8B030D-6E8A-4147-A177-3AD203B41FA5}">
                      <a16:colId xmlns:a16="http://schemas.microsoft.com/office/drawing/2014/main" val="2569328609"/>
                    </a:ext>
                  </a:extLst>
                </a:gridCol>
                <a:gridCol w="668718">
                  <a:extLst>
                    <a:ext uri="{9D8B030D-6E8A-4147-A177-3AD203B41FA5}">
                      <a16:colId xmlns:a16="http://schemas.microsoft.com/office/drawing/2014/main" val="114636242"/>
                    </a:ext>
                  </a:extLst>
                </a:gridCol>
              </a:tblGrid>
              <a:tr h="473968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Number of Studies by Public Health Approach FY2023</a:t>
                      </a:r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rgbClr val="4472C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7571287"/>
                  </a:ext>
                </a:extLst>
              </a:tr>
              <a:tr h="45541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Public Health Approach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n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%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9348478"/>
                  </a:ext>
                </a:extLst>
              </a:tr>
              <a:tr h="45541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Selectiv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6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45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31073798"/>
                  </a:ext>
                </a:extLst>
              </a:tr>
              <a:tr h="45541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Indicate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4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9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006833752"/>
                  </a:ext>
                </a:extLst>
              </a:tr>
              <a:tr h="45541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Universa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5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6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612761450"/>
                  </a:ext>
                </a:extLst>
              </a:tr>
              <a:tr h="45541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NR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1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9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137800929"/>
                  </a:ext>
                </a:extLst>
              </a:tr>
              <a:tr h="45541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Tota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15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89829435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FFFC512D-F482-2B28-56F6-2556A9A4EC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117922"/>
              </p:ext>
            </p:extLst>
          </p:nvPr>
        </p:nvGraphicFramePr>
        <p:xfrm>
          <a:off x="4325074" y="2232692"/>
          <a:ext cx="3596411" cy="3179445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1640334">
                  <a:extLst>
                    <a:ext uri="{9D8B030D-6E8A-4147-A177-3AD203B41FA5}">
                      <a16:colId xmlns:a16="http://schemas.microsoft.com/office/drawing/2014/main" val="75433992"/>
                    </a:ext>
                  </a:extLst>
                </a:gridCol>
                <a:gridCol w="995014">
                  <a:extLst>
                    <a:ext uri="{9D8B030D-6E8A-4147-A177-3AD203B41FA5}">
                      <a16:colId xmlns:a16="http://schemas.microsoft.com/office/drawing/2014/main" val="2603987195"/>
                    </a:ext>
                  </a:extLst>
                </a:gridCol>
                <a:gridCol w="961063">
                  <a:extLst>
                    <a:ext uri="{9D8B030D-6E8A-4147-A177-3AD203B41FA5}">
                      <a16:colId xmlns:a16="http://schemas.microsoft.com/office/drawing/2014/main" val="4030507610"/>
                    </a:ext>
                  </a:extLst>
                </a:gridCol>
              </a:tblGrid>
              <a:tr h="435171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solidFill>
                            <a:srgbClr val="FFFFFF"/>
                          </a:solidFill>
                          <a:effectLst/>
                        </a:rPr>
                        <a:t>Number of Studies by Public Health Approach FY2022</a:t>
                      </a:r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4472C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6322219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  Public Health Approach 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n 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1626645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u="none" strike="noStrike">
                          <a:solidFill>
                            <a:srgbClr val="000000"/>
                          </a:solidFill>
                          <a:effectLst/>
                        </a:rPr>
                        <a:t>  Selectiv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5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47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89399037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Indicated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7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66590927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Universa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3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24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5696521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N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54678809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 Total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126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22264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66177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Chart&#10;&#10;Description automatically generated with medium confidence">
            <a:extLst>
              <a:ext uri="{FF2B5EF4-FFF2-40B4-BE49-F238E27FC236}">
                <a16:creationId xmlns:a16="http://schemas.microsoft.com/office/drawing/2014/main" id="{47A37FE4-8ABC-0363-AB2F-52F2217B32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71" y="2672630"/>
            <a:ext cx="1257736" cy="2616540"/>
          </a:xfrm>
          <a:prstGeom prst="rect">
            <a:avLst/>
          </a:prstGeom>
        </p:spPr>
      </p:pic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A01487D7-1F4C-2218-78C2-7B564C06299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92426794"/>
              </p:ext>
            </p:extLst>
          </p:nvPr>
        </p:nvGraphicFramePr>
        <p:xfrm>
          <a:off x="0" y="2333138"/>
          <a:ext cx="4382813" cy="36232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8470E94F-0436-A481-F167-78A8F821AC7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06723835"/>
              </p:ext>
            </p:extLst>
          </p:nvPr>
        </p:nvGraphicFramePr>
        <p:xfrm>
          <a:off x="3937767" y="2251027"/>
          <a:ext cx="4488134" cy="34597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BA809A5-640C-8D61-B63E-27E97456AB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Public Health Approach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FF9895CB-AABE-85E2-A581-3AB231A6E68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56822751"/>
              </p:ext>
            </p:extLst>
          </p:nvPr>
        </p:nvGraphicFramePr>
        <p:xfrm>
          <a:off x="7605985" y="2251027"/>
          <a:ext cx="4382813" cy="36232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153C0169-51B3-B656-9001-9F816E061D93}"/>
              </a:ext>
            </a:extLst>
          </p:cNvPr>
          <p:cNvSpPr txBox="1"/>
          <p:nvPr/>
        </p:nvSpPr>
        <p:spPr>
          <a:xfrm>
            <a:off x="2256114" y="1949640"/>
            <a:ext cx="9249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Y202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7E50E65-6860-FAE2-0822-1EBC09032E8E}"/>
              </a:ext>
            </a:extLst>
          </p:cNvPr>
          <p:cNvSpPr txBox="1"/>
          <p:nvPr/>
        </p:nvSpPr>
        <p:spPr>
          <a:xfrm>
            <a:off x="5633545" y="1949640"/>
            <a:ext cx="9249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Y2022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6204BDB-EDDF-72BB-EC9A-1E7C94898D62}"/>
              </a:ext>
            </a:extLst>
          </p:cNvPr>
          <p:cNvSpPr txBox="1"/>
          <p:nvPr/>
        </p:nvSpPr>
        <p:spPr>
          <a:xfrm>
            <a:off x="9473431" y="1949640"/>
            <a:ext cx="9249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Y2023</a:t>
            </a:r>
          </a:p>
        </p:txBody>
      </p:sp>
    </p:spTree>
    <p:extLst>
      <p:ext uri="{BB962C8B-B14F-4D97-AF65-F5344CB8AC3E}">
        <p14:creationId xmlns:p14="http://schemas.microsoft.com/office/powerpoint/2010/main" val="21736933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njo8i3HuRM573PfLSF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njo8i3HuRM573PfLSF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A official colors">
  <a:themeElements>
    <a:clrScheme name="VA official color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3F72"/>
      </a:accent1>
      <a:accent2>
        <a:srgbClr val="0083BE"/>
      </a:accent2>
      <a:accent3>
        <a:srgbClr val="772432"/>
      </a:accent3>
      <a:accent4>
        <a:srgbClr val="C6262E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A official colors" id="{5E9E93AA-9438-4D47-A49A-EA7811546B98}" vid="{BDDB2F5F-5DE1-4642-AF15-190F17E72CD7}"/>
    </a:ext>
  </a:extLst>
</a:theme>
</file>

<file path=ppt/theme/theme2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7_Office Them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12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8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Green Banner/Lt Green BG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5B1E07F2C274044A140D89A2848318B" ma:contentTypeVersion="0" ma:contentTypeDescription="Create a new document." ma:contentTypeScope="" ma:versionID="96252eb261dcb8c93964b6fc62c193f8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764bea3eb9b1a5be8fd57fac5fb459b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3D1CA74-B764-4185-9B4A-1D630D5E8ABB}"/>
</file>

<file path=customXml/itemProps2.xml><?xml version="1.0" encoding="utf-8"?>
<ds:datastoreItem xmlns:ds="http://schemas.openxmlformats.org/officeDocument/2006/customXml" ds:itemID="{8E890AE1-8FEE-4803-B9DE-70AF888301C0}"/>
</file>

<file path=customXml/itemProps3.xml><?xml version="1.0" encoding="utf-8"?>
<ds:datastoreItem xmlns:ds="http://schemas.openxmlformats.org/officeDocument/2006/customXml" ds:itemID="{062D435C-17D9-42D2-AF6D-0CB6627603C1}"/>
</file>

<file path=docProps/app.xml><?xml version="1.0" encoding="utf-8"?>
<Properties xmlns="http://schemas.openxmlformats.org/officeDocument/2006/extended-properties" xmlns:vt="http://schemas.openxmlformats.org/officeDocument/2006/docPropsVTypes">
  <Template>VA official colors</Template>
  <TotalTime>4108</TotalTime>
  <Words>1866</Words>
  <Application>Microsoft Office PowerPoint</Application>
  <PresentationFormat>Widescreen</PresentationFormat>
  <Paragraphs>570</Paragraphs>
  <Slides>15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33" baseType="lpstr">
      <vt:lpstr>.Lucida Grande UI Regular</vt:lpstr>
      <vt:lpstr>Arial</vt:lpstr>
      <vt:lpstr>Arial Narrow</vt:lpstr>
      <vt:lpstr>Calibri</vt:lpstr>
      <vt:lpstr>Calibri Light</vt:lpstr>
      <vt:lpstr>Georgia</vt:lpstr>
      <vt:lpstr>Symbol</vt:lpstr>
      <vt:lpstr>System Font Regular</vt:lpstr>
      <vt:lpstr>Wingdings</vt:lpstr>
      <vt:lpstr>VA official colors</vt:lpstr>
      <vt:lpstr>Office Theme</vt:lpstr>
      <vt:lpstr>Custom Design</vt:lpstr>
      <vt:lpstr>7_Office Theme</vt:lpstr>
      <vt:lpstr>12_Office Theme</vt:lpstr>
      <vt:lpstr>1_Office Theme</vt:lpstr>
      <vt:lpstr>8_Office Theme</vt:lpstr>
      <vt:lpstr>Green Banner/Lt Green BG</vt:lpstr>
      <vt:lpstr>think-cell Slide</vt:lpstr>
      <vt:lpstr>Suicide Prevention Research Impact NeTwork  Review of Active Project Inventory (API)</vt:lpstr>
      <vt:lpstr>Active Projects Inventory</vt:lpstr>
      <vt:lpstr>Data we collect and organize</vt:lpstr>
      <vt:lpstr>API Limitations/Challenges</vt:lpstr>
      <vt:lpstr>VA Funded Projects FY2022/2023</vt:lpstr>
      <vt:lpstr>   VA-funded Projects by Study Type  </vt:lpstr>
      <vt:lpstr>FY2021 – FY2023 Projects by Study Type</vt:lpstr>
      <vt:lpstr>Public Health Approach  </vt:lpstr>
      <vt:lpstr>Public Health Approach</vt:lpstr>
      <vt:lpstr>      Socio-Ecological Model</vt:lpstr>
      <vt:lpstr>Socio-Ecological Model</vt:lpstr>
      <vt:lpstr>Project Key Words FY22-FY23</vt:lpstr>
      <vt:lpstr>Project Key Words FY22-FY23</vt:lpstr>
      <vt:lpstr>Possible next steps</vt:lpstr>
      <vt:lpstr>Current API (on SPRINT website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ynerson, Annabelle L. (Portland)</dc:creator>
  <cp:lastModifiedBy>Dobscha, Steven (Portland)</cp:lastModifiedBy>
  <cp:revision>286</cp:revision>
  <cp:lastPrinted>2021-05-14T15:59:55Z</cp:lastPrinted>
  <dcterms:created xsi:type="dcterms:W3CDTF">2020-01-09T19:12:45Z</dcterms:created>
  <dcterms:modified xsi:type="dcterms:W3CDTF">2023-05-23T20:20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5B1E07F2C274044A140D89A2848318B</vt:lpwstr>
  </property>
  <property fmtid="{D5CDD505-2E9C-101B-9397-08002B2CF9AE}" pid="3" name="Order">
    <vt:r8>193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  <property fmtid="{D5CDD505-2E9C-101B-9397-08002B2CF9AE}" pid="8" name="_SourceUrl">
    <vt:lpwstr/>
  </property>
  <property fmtid="{D5CDD505-2E9C-101B-9397-08002B2CF9AE}" pid="9" name="_SharedFileIndex">
    <vt:lpwstr/>
  </property>
  <property fmtid="{D5CDD505-2E9C-101B-9397-08002B2CF9AE}" pid="10" name="ComplianceAssetId">
    <vt:lpwstr/>
  </property>
  <property fmtid="{D5CDD505-2E9C-101B-9397-08002B2CF9AE}" pid="11" name="TemplateUrl">
    <vt:lpwstr/>
  </property>
</Properties>
</file>